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7FFFD8B7_35A3425F.xml" ContentType="application/vnd.ms-powerpoint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31" r:id="rId5"/>
    <p:sldMasterId id="2147483862" r:id="rId6"/>
    <p:sldMasterId id="2147483917" r:id="rId7"/>
    <p:sldMasterId id="2147483981" r:id="rId8"/>
  </p:sldMasterIdLst>
  <p:notesMasterIdLst>
    <p:notesMasterId r:id="rId41"/>
  </p:notesMasterIdLst>
  <p:sldIdLst>
    <p:sldId id="2147473356" r:id="rId9"/>
    <p:sldId id="2147473587" r:id="rId10"/>
    <p:sldId id="2147473588" r:id="rId11"/>
    <p:sldId id="2147473589" r:id="rId12"/>
    <p:sldId id="2147473590" r:id="rId13"/>
    <p:sldId id="2147473591" r:id="rId14"/>
    <p:sldId id="2147473511" r:id="rId15"/>
    <p:sldId id="2147473592" r:id="rId16"/>
    <p:sldId id="2147473597" r:id="rId17"/>
    <p:sldId id="2147473502" r:id="rId18"/>
    <p:sldId id="2147473598" r:id="rId19"/>
    <p:sldId id="2147473599" r:id="rId20"/>
    <p:sldId id="2147473600" r:id="rId21"/>
    <p:sldId id="2147473499" r:id="rId22"/>
    <p:sldId id="2147473611" r:id="rId23"/>
    <p:sldId id="2147473485" r:id="rId24"/>
    <p:sldId id="2147473593" r:id="rId25"/>
    <p:sldId id="2147473594" r:id="rId26"/>
    <p:sldId id="2147473596" r:id="rId27"/>
    <p:sldId id="2147473495" r:id="rId28"/>
    <p:sldId id="2147473488" r:id="rId29"/>
    <p:sldId id="2147473601" r:id="rId30"/>
    <p:sldId id="2147473602" r:id="rId31"/>
    <p:sldId id="2147473595" r:id="rId32"/>
    <p:sldId id="2147473508" r:id="rId33"/>
    <p:sldId id="2147473507" r:id="rId34"/>
    <p:sldId id="2147473509" r:id="rId35"/>
    <p:sldId id="2147473603" r:id="rId36"/>
    <p:sldId id="2147473512" r:id="rId37"/>
    <p:sldId id="2147473609" r:id="rId38"/>
    <p:sldId id="2147473605" r:id="rId39"/>
    <p:sldId id="262" r:id="rId40"/>
  </p:sldIdLst>
  <p:sldSz cx="12192000" cy="6858000"/>
  <p:notesSz cx="7004050" cy="9290050"/>
  <p:defaultTextStyle>
    <a:defPPr>
      <a:defRPr lang="en-FI"/>
    </a:defPPr>
    <a:lvl1pPr marL="0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FE7414-CF4A-A7FD-5B9A-AA2999B4BE8B}" name="Neubauer, Daniel" initials="DN" userId="S::daniel.neubauer@nomentia.com::e9b8fce5-a15e-41a7-8ff0-ab32abe2082e" providerId="AD"/>
  <p188:author id="{36A8C218-8D24-89A5-ECC9-030C0EF9DF00}" name="Straßer, Jeffry" initials="SJ" userId="S::jeffry.strasser@nomentia.com::e628ce47-5bae-4023-9169-4d0e22d4c4ba" providerId="AD"/>
  <p188:author id="{A8BDE427-127D-FA96-45F3-E9666B5B5919}" name="Son, Danielle" initials="SD" userId="S::danielle.son@nomentia.com::116bd55c-8406-40a2-95bc-6d45d1bf990b" providerId="AD"/>
  <p188:author id="{BDECF152-C750-676F-943B-9222F5B23B51}" name="Sprenger, Jürgen" initials="SJ" userId="S::juergen.sprenger@nomentia.com::6d68d667-c4d4-4ac1-bc36-c12c4e9e7f92" providerId="AD"/>
  <p188:author id="{A6DA3A56-2DAE-FF3F-95B3-3129E840D9BE}" name="Fleischmann, Alexander" initials="FA" userId="S::alexander.fleischmann@nomentia.com::1e173d2b-7bfc-4a36-abcd-d7f301a6c3cf" providerId="AD"/>
  <p188:author id="{580F3664-FC6F-B9D7-A357-0C8D746B3009}" name="Sallinen, Jukka" initials="SJ" userId="S::jukka.sallinen@nomentia.com::0d13e512-ec01-4f36-936a-27768b331d6e" providerId="AD"/>
  <p188:author id="{F0793974-3FE7-4211-551D-3D51505182E7}" name="Sophie Halfmann" initials="SH" userId="S::sophie.halfmann@tipco.at::aac549e2-3d0c-45bc-ae38-b56efd43c135" providerId="AD"/>
  <p188:author id="{AE750E77-B82E-6BB8-D9B3-758957707A3C}" name="Fikar, Martin" initials="" userId="S::martin.fikar@nomentia.com::98f14f29-ca92-4b50-9682-f328f2efce01" providerId="AD"/>
  <p188:author id="{AE684081-B197-4388-0438-1DCDEFAE09DD}" name="Siefert, Lutz" initials="SL" userId="S::lutz.siefert@nomentia.com::702b8139-e408-4ad4-9092-06dfc3a70337" providerId="AD"/>
  <p188:author id="{35F1F5B6-9705-6B89-7658-036C8CB5401F}" name="Babati, Barbara" initials="BB" userId="S::barbara.babati@nomentia.com::669bce4c-4bfc-4e58-baf4-fd535d1610da" providerId="AD"/>
  <p188:author id="{58782FE8-D5A7-410D-2C17-E93BF8301195}" name="Rappold, Hubert" initials="RH" userId="S::hubert.rappold@nomentia.com::c67fca59-a79e-4df1-b7ba-8ffac39e4cc9" providerId="AD"/>
  <p188:author id="{C56423F4-90B7-4251-05E4-E5FCB6020944}" name="Sallinen, Jukka" initials="SJ" userId="S::Jukka.Sallinen@nomentia.com::0d13e512-ec01-4f36-936a-27768b331d6e" providerId="AD"/>
  <p188:author id="{342610F6-15F4-AD3B-6F2C-7F6EAC6974A8}" name="Mucha, Kamila" initials="KM" userId="S::kamila.mucha@nomentia.com::7b1f44b0-176e-471c-9060-6ead3d211f88" providerId="AD"/>
  <p188:author id="{A9D690FA-FD3C-BCD1-AE19-A9BCD7C471DA}" name="Pöschl, Johannes" initials="JP" userId="S::johannes.poeschl@nomentia.com::2b8c0fbf-54f8-4b03-9a0b-a025049edb63" providerId="AD"/>
  <p188:author id="{892122FC-68DE-C732-02D8-8F874A65C948}" name="Winter, Martin" initials="WM" userId="S::martin.winter@nomentia.com::eb907410-0a7b-4407-838b-31c770842ee0" providerId="AD"/>
  <p188:author id="{A5EEB9FF-C05F-2E74-ECD7-1856DFE9F3F9}" name="Hubert Rappold" initials="HR" userId="S::hubert.rappold@tipco.at::e610edb3-1d2a-4887-82d9-fad35d729bd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ljanto, Laura" initials="LL" lastIdx="14" clrIdx="0">
    <p:extLst>
      <p:ext uri="{19B8F6BF-5375-455C-9EA6-DF929625EA0E}">
        <p15:presenceInfo xmlns:p15="http://schemas.microsoft.com/office/powerpoint/2012/main" userId="S::laura.liljanto@nomentia.com::9e2cdf76-6b51-4596-aec8-a93f28afad23" providerId="AD"/>
      </p:ext>
    </p:extLst>
  </p:cmAuthor>
  <p:cmAuthor id="2" name="Bergström, Lauri" initials="BL" lastIdx="1" clrIdx="1">
    <p:extLst>
      <p:ext uri="{19B8F6BF-5375-455C-9EA6-DF929625EA0E}">
        <p15:presenceInfo xmlns:p15="http://schemas.microsoft.com/office/powerpoint/2012/main" userId="S::lauri.bergstrom@nomentia.com::db94c1c1-94cc-4d33-8450-51644200d988" providerId="AD"/>
      </p:ext>
    </p:extLst>
  </p:cmAuthor>
  <p:cmAuthor id="3" name="Babati, Barbara" initials="BB" lastIdx="5" clrIdx="2">
    <p:extLst>
      <p:ext uri="{19B8F6BF-5375-455C-9EA6-DF929625EA0E}">
        <p15:presenceInfo xmlns:p15="http://schemas.microsoft.com/office/powerpoint/2012/main" userId="S::barbara.babati@nomentia.com::669bce4c-4bfc-4e58-baf4-fd535d1610d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CF64"/>
    <a:srgbClr val="2F322F"/>
    <a:srgbClr val="FFFFFF"/>
    <a:srgbClr val="737373"/>
    <a:srgbClr val="1F1F1F"/>
    <a:srgbClr val="FF845D"/>
    <a:srgbClr val="CC3300"/>
    <a:srgbClr val="FFD757"/>
    <a:srgbClr val="FF9933"/>
    <a:srgbClr val="FFD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65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commentAuthors" Target="commentAuthors.xml"/><Relationship Id="rId47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bleStyles" Target="tableStyles.xml"/><Relationship Id="rId20" Type="http://schemas.openxmlformats.org/officeDocument/2006/relationships/slide" Target="slides/slide12.xml"/><Relationship Id="rId41" Type="http://schemas.openxmlformats.org/officeDocument/2006/relationships/notesMaster" Target="notesMasters/notesMaster1.xml"/></Relationships>
</file>

<file path=ppt/comments/modernComment_7FFFD8B7_35A3425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C46D754-9996-4C8C-8C4D-0EB321372F43}" authorId="{A8BDE427-127D-FA96-45F3-E9666B5B5919}" status="resolved" created="2024-11-13T10:54:45.722" complete="100000">
    <pc:sldMkLst xmlns:pc="http://schemas.microsoft.com/office/powerpoint/2013/main/command">
      <pc:docMk/>
      <pc:sldMk cId="453298177" sldId="2147473483"/>
    </pc:sldMkLst>
    <p188:txBody>
      <a:bodyPr/>
      <a:lstStyle/>
      <a:p>
        <a:r>
          <a:rPr lang="en-AT"/>
          <a:t>Animation wird noch eingebaut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7341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r">
              <a:defRPr sz="1200"/>
            </a:lvl1pPr>
          </a:lstStyle>
          <a:p>
            <a:fld id="{7902426C-CAE2-4743-BD24-F4F2792BD5BD}" type="datetimeFigureOut">
              <a:rPr lang="en-FI" smtClean="0"/>
              <a:t>12/12/2024</a:t>
            </a:fld>
            <a:endParaRPr lang="en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0463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04" tIns="46552" rIns="93104" bIns="46552" rtlCol="0" anchor="ctr"/>
          <a:lstStyle/>
          <a:p>
            <a:endParaRPr lang="en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405" y="4470837"/>
            <a:ext cx="5603240" cy="3657957"/>
          </a:xfrm>
          <a:prstGeom prst="rect">
            <a:avLst/>
          </a:prstGeom>
        </p:spPr>
        <p:txBody>
          <a:bodyPr vert="horz" lIns="93104" tIns="46552" rIns="93104" bIns="4655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7341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r">
              <a:defRPr sz="1200"/>
            </a:lvl1pPr>
          </a:lstStyle>
          <a:p>
            <a:fld id="{0AA53F72-B923-454A-B89B-D6DAADACD8E6}" type="slidenum">
              <a:rPr lang="en-FI" smtClean="0"/>
              <a:t>‹#›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817673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>
          <a:extLst>
            <a:ext uri="{FF2B5EF4-FFF2-40B4-BE49-F238E27FC236}">
              <a16:creationId xmlns:a16="http://schemas.microsoft.com/office/drawing/2014/main" id="{98ECE041-BF77-1D97-7210-9C12B8B49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2a65d7cc680_0_31:notes">
            <a:extLst>
              <a:ext uri="{FF2B5EF4-FFF2-40B4-BE49-F238E27FC236}">
                <a16:creationId xmlns:a16="http://schemas.microsoft.com/office/drawing/2014/main" id="{E2BD1110-06A0-2F66-18B3-BCC9DD26890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2a65d7cc680_0_31:notes">
            <a:extLst>
              <a:ext uri="{FF2B5EF4-FFF2-40B4-BE49-F238E27FC236}">
                <a16:creationId xmlns:a16="http://schemas.microsoft.com/office/drawing/2014/main" id="{2560247D-6C32-6072-AFD9-D90B7C6DDC4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690073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0351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2298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430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7313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23056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447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g2a65d7cc680_0_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4" name="Google Shape;754;g2a65d7cc680_0_5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"/>
            <a:headEnd type="none" w="sm" len="sm"/>
            <a:tailEnd type="none" w="sm" len="sm"/>
          </a:ln>
        </p:spPr>
      </p:sp>
      <p:sp>
        <p:nvSpPr>
          <p:cNvPr id="613" name="Google Shape;613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894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2470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6756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56553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3303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53F72-B923-454A-B89B-D6DAADACD8E6}" type="slidenum">
              <a:rPr kumimoji="0" lang="en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7231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hyperlink" Target="https://brandportal.engelvoelkers.com/brandcenter/en/engelundvoelkers/component/default/80598" TargetMode="External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5" Type="http://schemas.openxmlformats.org/officeDocument/2006/relationships/hyperlink" Target="https://brandportal.engelvoelkers.com/brandcenter/en/engelundvoelkers/component/default/90561" TargetMode="External"/><Relationship Id="rId4" Type="http://schemas.openxmlformats.org/officeDocument/2006/relationships/image" Target="../media/image36.pn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10.png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32757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9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16" name="Picture 15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9D9137DF-4CE4-B8A2-30CC-3B52C95996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4002" y="1159894"/>
            <a:ext cx="18197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633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screenshot, white, black, design&#10;&#10;Description automatically generated">
            <a:extLst>
              <a:ext uri="{FF2B5EF4-FFF2-40B4-BE49-F238E27FC236}">
                <a16:creationId xmlns:a16="http://schemas.microsoft.com/office/drawing/2014/main" id="{05EBA526-F461-F4F7-9D60-1AFF5A1BED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51" y="0"/>
            <a:ext cx="12200351" cy="6881486"/>
          </a:xfrm>
          <a:prstGeom prst="rect">
            <a:avLst/>
          </a:prstGeom>
        </p:spPr>
      </p:pic>
      <p:pic>
        <p:nvPicPr>
          <p:cNvPr id="16" name="Picture 15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7ADC3B1E-876C-FCDE-1D14-32EBFF44DB4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325" y="612945"/>
            <a:ext cx="1451627" cy="486295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FFA0A4E1-9284-A50C-6DCB-A3878C507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571" y="590042"/>
            <a:ext cx="8730641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4067576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D3075-8763-DFCB-5665-84C55B30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581507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Thank you!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4234515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2">
            <a:extLst>
              <a:ext uri="{FF2B5EF4-FFF2-40B4-BE49-F238E27FC236}">
                <a16:creationId xmlns:a16="http://schemas.microsoft.com/office/drawing/2014/main" id="{FE7A16E9-F8C8-614A-7C89-6A1DAB1E64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237288"/>
          </a:xfrm>
          <a:solidFill>
            <a:schemeClr val="bg1">
              <a:lumMod val="85000"/>
            </a:schemeClr>
          </a:solidFill>
        </p:spPr>
        <p:txBody>
          <a:bodyPr lIns="90000" tIns="46800" rIns="90000" bIns="46800" anchor="ctr" anchorCtr="0"/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97C131C-87D9-A984-15A2-41D095B29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CE56D-55B1-4D0E-AD6F-703EB1E0BA01}" type="datetime1">
              <a:rPr lang="de-DE" noProof="0" smtClean="0"/>
              <a:t>12.12.2024</a:t>
            </a:fld>
            <a:endParaRPr lang="en-GB" noProof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5867D40-6316-D2D6-273A-160AD2A07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DCA256-10D4-E64B-95EC-A1210C4C9020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3EDD52E-33E1-63D6-D496-BD9F1F220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Tit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D0C2CE-EA59-2A2C-C193-213EEE2BB1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1700213"/>
            <a:ext cx="4392612" cy="4249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9445290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EECE901-4C65-E498-D26A-8458AB55A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77640-D3DB-4441-9DDA-50E3BACF6C34}" type="datetime1">
              <a:rPr lang="de-DE" noProof="0" smtClean="0"/>
              <a:t>12.12.2024</a:t>
            </a:fld>
            <a:endParaRPr lang="en-GB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EADEDCD-C593-0FEC-AAE7-4FEFB42A6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DCA256-10D4-E64B-95EC-A1210C4C9020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11036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EEC4C826-5D3F-F0A2-38A4-FEA46CE9B3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728" y="0"/>
            <a:ext cx="12200351" cy="6881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985C7D-C16D-CA6B-7376-6068279D8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2663" y="238237"/>
            <a:ext cx="8730641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pic>
        <p:nvPicPr>
          <p:cNvPr id="4" name="Picture 3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6D075E55-D7F1-7DED-A91A-88B69A20ED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325" y="241296"/>
            <a:ext cx="1451627" cy="48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8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EEC4C826-5D3F-F0A2-38A4-FEA46CE9B3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0351" cy="6881486"/>
          </a:xfrm>
          <a:prstGeom prst="rect">
            <a:avLst/>
          </a:prstGeom>
        </p:spPr>
      </p:pic>
      <p:pic>
        <p:nvPicPr>
          <p:cNvPr id="3" name="Picture 2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63646AF5-D2CB-BEA2-1B30-6DAEAF30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4429" y="212112"/>
            <a:ext cx="1451627" cy="4862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985C7D-C16D-CA6B-7376-6068279D8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787" y="238237"/>
            <a:ext cx="8730641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72525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screenshot, white, black, design&#10;&#10;Description automatically generated">
            <a:extLst>
              <a:ext uri="{FF2B5EF4-FFF2-40B4-BE49-F238E27FC236}">
                <a16:creationId xmlns:a16="http://schemas.microsoft.com/office/drawing/2014/main" id="{05EBA526-F461-F4F7-9D60-1AFF5A1BED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0351" cy="6881486"/>
          </a:xfrm>
          <a:prstGeom prst="rect">
            <a:avLst/>
          </a:prstGeom>
        </p:spPr>
      </p:pic>
      <p:pic>
        <p:nvPicPr>
          <p:cNvPr id="2" name="Picture 1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F9D1DAC0-65DB-514F-DA5F-D3E3283BFB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4429" y="625470"/>
            <a:ext cx="1451627" cy="48629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95A340E-7C4A-4DBB-4882-32C474A1F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2977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8653683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1876" y="2425072"/>
            <a:ext cx="6782938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EB25992-7508-BC71-719B-12A8F915F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1876" y="83770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91E5AD-3834-CEA1-4787-FA26541D1ED7}"/>
              </a:ext>
            </a:extLst>
          </p:cNvPr>
          <p:cNvSpPr/>
          <p:nvPr userDrawn="1"/>
        </p:nvSpPr>
        <p:spPr>
          <a:xfrm>
            <a:off x="4517411" y="1840268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3086606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10" y="2425072"/>
            <a:ext cx="7200330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E60A94-213E-4B5E-EDD5-86CB42AC6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10" y="84193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D95720-656F-D4F4-60A5-5A145144AFF0}"/>
              </a:ext>
            </a:extLst>
          </p:cNvPr>
          <p:cNvSpPr/>
          <p:nvPr userDrawn="1"/>
        </p:nvSpPr>
        <p:spPr>
          <a:xfrm>
            <a:off x="944871" y="1840268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943166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creenshot, design&#10;&#10;Description automatically generated">
            <a:extLst>
              <a:ext uri="{FF2B5EF4-FFF2-40B4-BE49-F238E27FC236}">
                <a16:creationId xmlns:a16="http://schemas.microsoft.com/office/drawing/2014/main" id="{CB2E8A66-F09D-9001-8C92-615B97B24F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" r="12520" b="22816"/>
          <a:stretch/>
        </p:blipFill>
        <p:spPr>
          <a:xfrm>
            <a:off x="1" y="-21654"/>
            <a:ext cx="12191999" cy="6879654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6680" y="2425072"/>
            <a:ext cx="7200330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E60A94-213E-4B5E-EDD5-86CB42AC6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680" y="84193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4395193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creenshot, design&#10;&#10;Description automatically generated">
            <a:extLst>
              <a:ext uri="{FF2B5EF4-FFF2-40B4-BE49-F238E27FC236}">
                <a16:creationId xmlns:a16="http://schemas.microsoft.com/office/drawing/2014/main" id="{3FE061E4-44DA-5288-EE7F-F2EB953C69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" b="1030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4BCF8C9-3BDE-1E57-A899-12271B0B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10" y="84193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D2420DE-405E-1B16-416D-C74F13C126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10" y="2425072"/>
            <a:ext cx="7200330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1614709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2425073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B3B59-A84B-55D2-5206-B6AA41E4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841933"/>
            <a:ext cx="10560524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067528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2425073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841933"/>
            <a:ext cx="10560524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737593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32757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9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16" name="Picture 15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9D9137DF-4CE4-B8A2-30CC-3B52C95996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4002" y="1159894"/>
            <a:ext cx="1819701" cy="609600"/>
          </a:xfrm>
          <a:prstGeom prst="rect">
            <a:avLst/>
          </a:prstGeom>
        </p:spPr>
      </p:pic>
      <p:pic>
        <p:nvPicPr>
          <p:cNvPr id="5" name="Picture 4" descr="A black background with yellow dots&#10;&#10;Description automatically generated">
            <a:extLst>
              <a:ext uri="{FF2B5EF4-FFF2-40B4-BE49-F238E27FC236}">
                <a16:creationId xmlns:a16="http://schemas.microsoft.com/office/drawing/2014/main" id="{B30D62E6-76D9-9BD7-007B-699B56555FC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656"/>
            <a:ext cx="12192000" cy="677468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4547DB4-4D60-0D51-FE05-1ED361AC2EA3}"/>
              </a:ext>
            </a:extLst>
          </p:cNvPr>
          <p:cNvSpPr txBox="1">
            <a:spLocks/>
          </p:cNvSpPr>
          <p:nvPr userDrawn="1"/>
        </p:nvSpPr>
        <p:spPr>
          <a:xfrm>
            <a:off x="2773824" y="1717344"/>
            <a:ext cx="7085287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  <a:ea typeface="+mj-ea"/>
                <a:cs typeface="Arial Bold" panose="020B0704020202020204" pitchFamily="34" charset="0"/>
              </a:defRPr>
            </a:lvl1pPr>
          </a:lstStyle>
          <a:p>
            <a:r>
              <a:rPr lang="en-GB" sz="4400"/>
              <a:t>Click to edit Master title style</a:t>
            </a:r>
            <a:endParaRPr lang="en-FI" sz="440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2CF3D1-D2A2-A55A-FFB2-AEEA04637320}"/>
              </a:ext>
            </a:extLst>
          </p:cNvPr>
          <p:cNvSpPr txBox="1">
            <a:spLocks/>
          </p:cNvSpPr>
          <p:nvPr userDrawn="1"/>
        </p:nvSpPr>
        <p:spPr>
          <a:xfrm>
            <a:off x="2773823" y="4326931"/>
            <a:ext cx="6733592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Tx/>
              <a:buNone/>
              <a:defRPr sz="2400" kern="1200">
                <a:solidFill>
                  <a:schemeClr val="bg1"/>
                </a:solidFill>
                <a:latin typeface="Montserrat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tabLst>
                <a:tab pos="542925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906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/>
              <a:t>Subtitle</a:t>
            </a:r>
            <a:endParaRPr lang="en-FI" sz="2400"/>
          </a:p>
        </p:txBody>
      </p:sp>
      <p:pic>
        <p:nvPicPr>
          <p:cNvPr id="8" name="Picture 7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CCE26D1C-189E-E30D-1EBF-A1C12BEE1C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73824" y="1444481"/>
            <a:ext cx="18197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2642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3497241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1914101"/>
            <a:ext cx="10560524" cy="62438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0DD98E-A7C5-5BAB-E655-E72A49FD8B5D}"/>
              </a:ext>
            </a:extLst>
          </p:cNvPr>
          <p:cNvSpPr/>
          <p:nvPr userDrawn="1"/>
        </p:nvSpPr>
        <p:spPr>
          <a:xfrm>
            <a:off x="930891" y="1645451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25083222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1863469"/>
            <a:ext cx="10560524" cy="38233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589579"/>
            <a:ext cx="10560524" cy="62438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0DD98E-A7C5-5BAB-E655-E72A49FD8B5D}"/>
              </a:ext>
            </a:extLst>
          </p:cNvPr>
          <p:cNvSpPr/>
          <p:nvPr userDrawn="1"/>
        </p:nvSpPr>
        <p:spPr>
          <a:xfrm>
            <a:off x="930891" y="1259213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29560886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3497241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1914101"/>
            <a:ext cx="10560524" cy="62438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0DD98E-A7C5-5BAB-E655-E72A49FD8B5D}"/>
              </a:ext>
            </a:extLst>
          </p:cNvPr>
          <p:cNvSpPr/>
          <p:nvPr userDrawn="1"/>
        </p:nvSpPr>
        <p:spPr>
          <a:xfrm>
            <a:off x="930891" y="1645451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22097843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D3075-8763-DFCB-5665-84C55B30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58150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Thank you!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2735663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E2F6-AA98-BB7F-DD5F-92D6EAED2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2CE4F1-F16C-01B0-1F5A-A4B693E8A4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40AFD09B-4CEF-4A7E-AF7B-2EEA099D4AD7}" type="slidenum">
              <a:rPr lang="en-FI" smtClean="0"/>
              <a:pPr algn="ctr"/>
              <a:t>‹#›</a:t>
            </a:fld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79D6F4-BD2E-C5EF-49EF-70C3C2DC9F4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FI" sz="1050"/>
          </a:p>
        </p:txBody>
      </p:sp>
      <p:pic>
        <p:nvPicPr>
          <p:cNvPr id="6" name="Picture 5" descr="A black and white background&#10;&#10;Description automatically generated">
            <a:extLst>
              <a:ext uri="{FF2B5EF4-FFF2-40B4-BE49-F238E27FC236}">
                <a16:creationId xmlns:a16="http://schemas.microsoft.com/office/drawing/2014/main" id="{C2BDB627-55E4-EA96-DFE5-06FDDB4701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190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5BA6A0-02A1-4632-CBC3-9C65AD5F8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AE0512-B087-9D8C-E802-BA07AC28AF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40AFD09B-4CEF-4A7E-AF7B-2EEA099D4AD7}" type="slidenum">
              <a:rPr lang="en-FI" smtClean="0"/>
              <a:pPr algn="ctr"/>
              <a:t>‹#›</a:t>
            </a:fld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C6118-A23A-BC43-3B4D-7DDA7C3CA77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FI" sz="1050"/>
          </a:p>
        </p:txBody>
      </p:sp>
      <p:pic>
        <p:nvPicPr>
          <p:cNvPr id="6" name="Picture 5" descr="A black background with a circle&#10;&#10;Description automatically generated">
            <a:extLst>
              <a:ext uri="{FF2B5EF4-FFF2-40B4-BE49-F238E27FC236}">
                <a16:creationId xmlns:a16="http://schemas.microsoft.com/office/drawing/2014/main" id="{9F70BDC7-16A3-A61D-CA20-D87E440BBB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943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8E4D0D-6FD1-AE8F-8DB8-84AC20361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6591B6-47F5-B758-DBF3-D07DD95432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40AFD09B-4CEF-4A7E-AF7B-2EEA099D4AD7}" type="slidenum">
              <a:rPr lang="en-FI" smtClean="0"/>
              <a:pPr algn="ctr"/>
              <a:t>‹#›</a:t>
            </a:fld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7AF244-906D-999D-2C6C-31C75533273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FI" sz="1050"/>
          </a:p>
        </p:txBody>
      </p:sp>
      <p:pic>
        <p:nvPicPr>
          <p:cNvPr id="6" name="Picture 5" descr="A black and yellow background with a black circle&#10;&#10;Description automatically generated">
            <a:extLst>
              <a:ext uri="{FF2B5EF4-FFF2-40B4-BE49-F238E27FC236}">
                <a16:creationId xmlns:a16="http://schemas.microsoft.com/office/drawing/2014/main" id="{5B4FF767-328F-4D1D-FB5D-9A046EDD5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5610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0F814-29C9-B067-BCC4-FFD9B3BF9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AE501E-6856-34A6-314B-8F7D3F1DD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40AFD09B-4CEF-4A7E-AF7B-2EEA099D4AD7}" type="slidenum">
              <a:rPr lang="en-FI" smtClean="0"/>
              <a:pPr algn="ctr"/>
              <a:t>‹#›</a:t>
            </a:fld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37A6FE-A9C8-0B3C-1204-8231085107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FI" sz="1050"/>
          </a:p>
        </p:txBody>
      </p:sp>
      <p:pic>
        <p:nvPicPr>
          <p:cNvPr id="6" name="Picture 5" descr="A white surface with a black and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FC2ECB41-5959-1A67-46AE-A4310A5A18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" y="0"/>
            <a:ext cx="121843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649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background&#10;&#10;Description automatically generated">
            <a:extLst>
              <a:ext uri="{FF2B5EF4-FFF2-40B4-BE49-F238E27FC236}">
                <a16:creationId xmlns:a16="http://schemas.microsoft.com/office/drawing/2014/main" id="{83E97032-632D-43BF-BD0D-A0DCA03E1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" y="0"/>
            <a:ext cx="121843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0544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| Titelvariante - nur Titel">
  <p:cSld name="1 | Titelvariante - nur Titel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2"/>
          <p:cNvSpPr txBox="1">
            <a:spLocks noGrp="1"/>
          </p:cNvSpPr>
          <p:nvPr>
            <p:ph type="ctrTitle"/>
          </p:nvPr>
        </p:nvSpPr>
        <p:spPr>
          <a:xfrm>
            <a:off x="1344000" y="2836263"/>
            <a:ext cx="9504000" cy="15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Georgia"/>
              <a:buNone/>
              <a:defRPr sz="4667" b="0" i="0"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9pPr>
          </a:lstStyle>
          <a:p>
            <a:endParaRPr/>
          </a:p>
        </p:txBody>
      </p:sp>
      <p:sp>
        <p:nvSpPr>
          <p:cNvPr id="60" name="Google Shape;60;p2"/>
          <p:cNvSpPr txBox="1">
            <a:spLocks noGrp="1"/>
          </p:cNvSpPr>
          <p:nvPr>
            <p:ph type="subTitle" idx="1"/>
          </p:nvPr>
        </p:nvSpPr>
        <p:spPr>
          <a:xfrm>
            <a:off x="2316000" y="2152187"/>
            <a:ext cx="756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61" name="Google Shape;61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28001" y="368659"/>
            <a:ext cx="2735999" cy="294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62;p2"/>
          <p:cNvPicPr preferRelativeResize="0"/>
          <p:nvPr/>
        </p:nvPicPr>
        <p:blipFill rotWithShape="1">
          <a:blip r:embed="rId3">
            <a:alphaModFix/>
          </a:blip>
          <a:srcRect b="438"/>
          <a:stretch/>
        </p:blipFill>
        <p:spPr>
          <a:xfrm>
            <a:off x="0" y="4945117"/>
            <a:ext cx="12191997" cy="19128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7782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2" y="1432757"/>
            <a:ext cx="5409063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2" y="4042344"/>
            <a:ext cx="540906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9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5" name="Picture 4" descr="A picture containing glasses, coffee cup, goggles, circle&#10;&#10;Description automatically generated">
            <a:extLst>
              <a:ext uri="{FF2B5EF4-FFF2-40B4-BE49-F238E27FC236}">
                <a16:creationId xmlns:a16="http://schemas.microsoft.com/office/drawing/2014/main" id="{C26A73C7-1706-2784-2B2A-C2DB18E6AE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19167" y="785883"/>
            <a:ext cx="5177050" cy="5177050"/>
          </a:xfrm>
          <a:prstGeom prst="rect">
            <a:avLst/>
          </a:prstGeom>
        </p:spPr>
      </p:pic>
      <p:pic>
        <p:nvPicPr>
          <p:cNvPr id="4" name="Picture 3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1656F80B-0381-9561-EE7B-19A43BCD75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24002" y="1159894"/>
            <a:ext cx="18197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5317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| Titelvariante - Titel und Bild">
  <p:cSld name="2 | Titelvariante - Titel und Bild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3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60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65" name="Google Shape;65;p3"/>
          <p:cNvSpPr txBox="1">
            <a:spLocks noGrp="1"/>
          </p:cNvSpPr>
          <p:nvPr>
            <p:ph type="ctrTitle"/>
          </p:nvPr>
        </p:nvSpPr>
        <p:spPr>
          <a:xfrm>
            <a:off x="1344000" y="4974867"/>
            <a:ext cx="9504000" cy="75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Georgia"/>
              <a:buNone/>
              <a:defRPr sz="4667" b="0" i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2pPr>
            <a:lvl3pPr lvl="2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3pPr>
            <a:lvl4pPr lvl="3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4pPr>
            <a:lvl5pPr lvl="4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5pPr>
            <a:lvl6pPr lvl="5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6pPr>
            <a:lvl7pPr lvl="6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7pPr>
            <a:lvl8pPr lvl="7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8pPr>
            <a:lvl9pPr lvl="8" rtl="0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9pPr>
          </a:lstStyle>
          <a:p>
            <a:endParaRPr/>
          </a:p>
        </p:txBody>
      </p:sp>
      <p:sp>
        <p:nvSpPr>
          <p:cNvPr id="66" name="Google Shape;66;p3"/>
          <p:cNvSpPr txBox="1">
            <a:spLocks noGrp="1"/>
          </p:cNvSpPr>
          <p:nvPr>
            <p:ph type="subTitle" idx="1"/>
          </p:nvPr>
        </p:nvSpPr>
        <p:spPr>
          <a:xfrm>
            <a:off x="2316000" y="4380111"/>
            <a:ext cx="756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200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Google Shape;67;p3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0" tIns="0" rIns="0" bIns="10800" anchor="t" anchorCtr="0">
            <a:noAutofit/>
          </a:bodyPr>
          <a:lstStyle>
            <a:lvl1pPr lvl="0" rtl="0">
              <a:buNone/>
              <a:defRPr sz="1733">
                <a:solidFill>
                  <a:schemeClr val="lt1"/>
                </a:solidFill>
              </a:defRPr>
            </a:lvl1pPr>
            <a:lvl2pPr lvl="1" rtl="0">
              <a:buNone/>
              <a:defRPr sz="1733">
                <a:solidFill>
                  <a:schemeClr val="lt1"/>
                </a:solidFill>
              </a:defRPr>
            </a:lvl2pPr>
            <a:lvl3pPr lvl="2" rtl="0">
              <a:buNone/>
              <a:defRPr sz="1733">
                <a:solidFill>
                  <a:schemeClr val="lt1"/>
                </a:solidFill>
              </a:defRPr>
            </a:lvl3pPr>
            <a:lvl4pPr lvl="3" rtl="0">
              <a:buNone/>
              <a:defRPr sz="1733">
                <a:solidFill>
                  <a:schemeClr val="lt1"/>
                </a:solidFill>
              </a:defRPr>
            </a:lvl4pPr>
            <a:lvl5pPr lvl="4" rtl="0">
              <a:buNone/>
              <a:defRPr sz="1733">
                <a:solidFill>
                  <a:schemeClr val="lt1"/>
                </a:solidFill>
              </a:defRPr>
            </a:lvl5pPr>
            <a:lvl6pPr lvl="5" rtl="0">
              <a:buNone/>
              <a:defRPr sz="1733">
                <a:solidFill>
                  <a:schemeClr val="lt1"/>
                </a:solidFill>
              </a:defRPr>
            </a:lvl6pPr>
            <a:lvl7pPr lvl="6" rtl="0">
              <a:buNone/>
              <a:defRPr sz="1733">
                <a:solidFill>
                  <a:schemeClr val="lt1"/>
                </a:solidFill>
              </a:defRPr>
            </a:lvl7pPr>
            <a:lvl8pPr lvl="7" rtl="0">
              <a:buNone/>
              <a:defRPr sz="1733">
                <a:solidFill>
                  <a:schemeClr val="lt1"/>
                </a:solidFill>
              </a:defRPr>
            </a:lvl8pPr>
            <a:lvl9pPr lvl="8" rtl="0">
              <a:buNone/>
              <a:defRPr sz="1733"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12071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| Titelvariante - Typo auf Bild">
  <p:cSld name="3 | Titelvariante - Typo auf Bild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28002" y="368659"/>
            <a:ext cx="2735999" cy="294985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Google Shape;70;p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71" name="Google Shape;71;p4"/>
          <p:cNvSpPr txBox="1">
            <a:spLocks noGrp="1"/>
          </p:cNvSpPr>
          <p:nvPr>
            <p:ph type="ctrTitle"/>
          </p:nvPr>
        </p:nvSpPr>
        <p:spPr>
          <a:xfrm>
            <a:off x="1344000" y="3049663"/>
            <a:ext cx="9504000" cy="15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500"/>
              <a:buFont typeface="Georgia"/>
              <a:buNone/>
              <a:defRPr sz="4667" b="0" i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4"/>
          <p:cNvSpPr txBox="1">
            <a:spLocks noGrp="1"/>
          </p:cNvSpPr>
          <p:nvPr>
            <p:ph type="subTitle" idx="1"/>
          </p:nvPr>
        </p:nvSpPr>
        <p:spPr>
          <a:xfrm>
            <a:off x="2316000" y="6165344"/>
            <a:ext cx="756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200" b="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73" name="Google Shape;73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28002" y="368659"/>
            <a:ext cx="2735999" cy="2949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02292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| Agenda - Text">
  <p:cSld name="4 | Agenda - 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5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5"/>
          <p:cNvSpPr txBox="1">
            <a:spLocks noGrp="1"/>
          </p:cNvSpPr>
          <p:nvPr>
            <p:ph type="body" idx="1"/>
          </p:nvPr>
        </p:nvSpPr>
        <p:spPr>
          <a:xfrm>
            <a:off x="587495" y="1700241"/>
            <a:ext cx="36712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lvl="0" indent="-397923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  <a:defRPr b="0" cap="none"/>
            </a:lvl1pPr>
            <a:lvl2pPr marL="1219170" lvl="1" indent="-304792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SzPts val="1100"/>
              <a:buFont typeface="Arial"/>
              <a:buNone/>
              <a:defRPr/>
            </a:lvl2pPr>
            <a:lvl3pPr marL="1828754" lvl="2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3pPr>
            <a:lvl4pPr marL="2438339" lvl="3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marL="3047924" lvl="4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marL="3657509" lvl="5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marL="4267093" lvl="6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marL="4876678" lvl="7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marL="5486263" lvl="8" indent="-304792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77" name="Google Shape;77;p5"/>
          <p:cNvCxnSpPr/>
          <p:nvPr/>
        </p:nvCxnSpPr>
        <p:spPr>
          <a:xfrm>
            <a:off x="371471" y="1700241"/>
            <a:ext cx="0" cy="40320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" name="Google Shape;78;p5"/>
          <p:cNvSpPr txBox="1">
            <a:spLocks noGrp="1"/>
          </p:cNvSpPr>
          <p:nvPr>
            <p:ph type="body" idx="2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9" name="Google Shape;79;p5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3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436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50">
          <p15:clr>
            <a:srgbClr val="F26B43"/>
          </p15:clr>
        </p15:guide>
        <p15:guide id="2" pos="3748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| Agenda - Text und Bild">
  <p:cSld name="5 | Agenda - Text und Bild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6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6"/>
          <p:cNvSpPr txBox="1">
            <a:spLocks noGrp="1"/>
          </p:cNvSpPr>
          <p:nvPr>
            <p:ph type="ftr" idx="11"/>
          </p:nvPr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6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5" name="Google Shape;85;p6"/>
          <p:cNvSpPr txBox="1">
            <a:spLocks noGrp="1"/>
          </p:cNvSpPr>
          <p:nvPr>
            <p:ph type="body" idx="1"/>
          </p:nvPr>
        </p:nvSpPr>
        <p:spPr>
          <a:xfrm>
            <a:off x="8148228" y="1700808"/>
            <a:ext cx="36712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lvl="0" indent="-397923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  <a:defRPr b="0" cap="none"/>
            </a:lvl1pPr>
            <a:lvl2pPr marL="1219170" lvl="1" indent="-304792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SzPts val="1100"/>
              <a:buFont typeface="Arial"/>
              <a:buNone/>
              <a:defRPr/>
            </a:lvl2pPr>
            <a:lvl3pPr marL="1828754" lvl="2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3pPr>
            <a:lvl4pPr marL="2438339" lvl="3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marL="3047924" lvl="4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marL="3657509" lvl="5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marL="4267093" lvl="6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marL="4876678" lvl="7" indent="-304792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marL="5486263" lvl="8" indent="-304792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6"/>
          <p:cNvSpPr>
            <a:spLocks noGrp="1"/>
          </p:cNvSpPr>
          <p:nvPr>
            <p:ph type="pic" idx="2"/>
          </p:nvPr>
        </p:nvSpPr>
        <p:spPr>
          <a:xfrm>
            <a:off x="371364" y="1700808"/>
            <a:ext cx="5724000" cy="40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cxnSp>
        <p:nvCxnSpPr>
          <p:cNvPr id="87" name="Google Shape;87;p6"/>
          <p:cNvCxnSpPr/>
          <p:nvPr/>
        </p:nvCxnSpPr>
        <p:spPr>
          <a:xfrm>
            <a:off x="7932204" y="1700808"/>
            <a:ext cx="0" cy="40320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" name="Google Shape;88;p6"/>
          <p:cNvSpPr txBox="1">
            <a:spLocks noGrp="1"/>
          </p:cNvSpPr>
          <p:nvPr>
            <p:ph type="body" idx="3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88712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50">
          <p15:clr>
            <a:srgbClr val="F26B43"/>
          </p15:clr>
        </p15:guide>
        <p15:guide id="2" pos="3748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 | Kapiteltrenner V1 - Titel">
  <p:cSld name="6 | Kapiteltrenner V1 - Titel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8F5F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7"/>
          <p:cNvSpPr txBox="1">
            <a:spLocks noGrp="1"/>
          </p:cNvSpPr>
          <p:nvPr>
            <p:ph type="title"/>
          </p:nvPr>
        </p:nvSpPr>
        <p:spPr>
          <a:xfrm>
            <a:off x="2315580" y="2456892"/>
            <a:ext cx="7560800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Georgia"/>
              <a:buNone/>
              <a:defRPr sz="4667"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9pPr>
          </a:lstStyle>
          <a:p>
            <a:endParaRPr/>
          </a:p>
        </p:txBody>
      </p:sp>
      <p:cxnSp>
        <p:nvCxnSpPr>
          <p:cNvPr id="92" name="Google Shape;92;p7"/>
          <p:cNvCxnSpPr/>
          <p:nvPr/>
        </p:nvCxnSpPr>
        <p:spPr>
          <a:xfrm>
            <a:off x="5771964" y="5733256"/>
            <a:ext cx="64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" name="Google Shape;93;p7"/>
          <p:cNvSpPr txBox="1">
            <a:spLocks noGrp="1"/>
          </p:cNvSpPr>
          <p:nvPr>
            <p:ph type="subTitle" idx="1"/>
          </p:nvPr>
        </p:nvSpPr>
        <p:spPr>
          <a:xfrm>
            <a:off x="2315967" y="5766328"/>
            <a:ext cx="756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651545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 |  Kapiteltrenner V2 - Nummer">
  <p:cSld name="7 |  Kapiteltrenner V2 - Nummer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8F5F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Google Shape;96;p8"/>
          <p:cNvSpPr txBox="1">
            <a:spLocks noGrp="1"/>
          </p:cNvSpPr>
          <p:nvPr>
            <p:ph type="body" idx="1"/>
          </p:nvPr>
        </p:nvSpPr>
        <p:spPr>
          <a:xfrm>
            <a:off x="4259796" y="2493008"/>
            <a:ext cx="3672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Arial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1219170" lvl="1" indent="-304792" algn="ctr" rtl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Arial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828754" lvl="2" indent="-423323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SzPts val="1400"/>
              <a:buChar char="﹣"/>
              <a:defRPr/>
            </a:lvl3pPr>
            <a:lvl4pPr marL="2438339" lvl="3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3047924" lvl="4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3657509" lvl="5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4267093" lvl="6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4876678" lvl="7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5486263" lvl="8" indent="-304792" algn="ctr" rtl="0">
              <a:lnSpc>
                <a:spcPct val="85000"/>
              </a:lnSpc>
              <a:spcBef>
                <a:spcPts val="667"/>
              </a:spcBef>
              <a:spcAft>
                <a:spcPts val="667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97" name="Google Shape;97;p8"/>
          <p:cNvSpPr txBox="1">
            <a:spLocks noGrp="1"/>
          </p:cNvSpPr>
          <p:nvPr>
            <p:ph type="title"/>
          </p:nvPr>
        </p:nvSpPr>
        <p:spPr>
          <a:xfrm>
            <a:off x="4259967" y="3618579"/>
            <a:ext cx="3672000" cy="9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1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98" name="Google Shape;98;p8"/>
          <p:cNvCxnSpPr/>
          <p:nvPr/>
        </p:nvCxnSpPr>
        <p:spPr>
          <a:xfrm>
            <a:off x="5771964" y="5733256"/>
            <a:ext cx="64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" name="Google Shape;99;p8"/>
          <p:cNvSpPr txBox="1">
            <a:spLocks noGrp="1"/>
          </p:cNvSpPr>
          <p:nvPr>
            <p:ph type="subTitle" idx="2"/>
          </p:nvPr>
        </p:nvSpPr>
        <p:spPr>
          <a:xfrm>
            <a:off x="2315967" y="5766328"/>
            <a:ext cx="756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48901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2">
          <p15:clr>
            <a:srgbClr val="F26B43"/>
          </p15:clr>
        </p15:guide>
        <p15:guide id="2" pos="3748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 | Kapiteltrenner - Pattern V1 - Nummer">
  <p:cSld name="8 | Kapiteltrenner - Pattern V1 - Nummer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" name="Google Shape;102;p9"/>
          <p:cNvSpPr txBox="1">
            <a:spLocks noGrp="1"/>
          </p:cNvSpPr>
          <p:nvPr>
            <p:ph type="body" idx="1"/>
          </p:nvPr>
        </p:nvSpPr>
        <p:spPr>
          <a:xfrm>
            <a:off x="1343472" y="2493008"/>
            <a:ext cx="3672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Arial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1219170" lvl="1" indent="-304792" algn="ctr" rtl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Arial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828754" lvl="2" indent="-423323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SzPts val="1400"/>
              <a:buChar char="﹣"/>
              <a:defRPr/>
            </a:lvl3pPr>
            <a:lvl4pPr marL="2438339" lvl="3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3047924" lvl="4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3657509" lvl="5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4267093" lvl="6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4876678" lvl="7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5486263" lvl="8" indent="-304792" algn="ctr" rtl="0">
              <a:lnSpc>
                <a:spcPct val="85000"/>
              </a:lnSpc>
              <a:spcBef>
                <a:spcPts val="667"/>
              </a:spcBef>
              <a:spcAft>
                <a:spcPts val="667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03" name="Google Shape;103;p9"/>
          <p:cNvSpPr txBox="1">
            <a:spLocks noGrp="1"/>
          </p:cNvSpPr>
          <p:nvPr>
            <p:ph type="title"/>
          </p:nvPr>
        </p:nvSpPr>
        <p:spPr>
          <a:xfrm>
            <a:off x="1343472" y="3537012"/>
            <a:ext cx="3672400" cy="9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1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04" name="Google Shape;104;p9"/>
          <p:cNvCxnSpPr/>
          <p:nvPr/>
        </p:nvCxnSpPr>
        <p:spPr>
          <a:xfrm>
            <a:off x="2855328" y="5733256"/>
            <a:ext cx="64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5" name="Google Shape;105;p9"/>
          <p:cNvPicPr preferRelativeResize="0"/>
          <p:nvPr/>
        </p:nvPicPr>
        <p:blipFill rotWithShape="1">
          <a:blip r:embed="rId2">
            <a:alphaModFix/>
          </a:blip>
          <a:srcRect b="119"/>
          <a:stretch/>
        </p:blipFill>
        <p:spPr>
          <a:xfrm>
            <a:off x="6078443" y="8467"/>
            <a:ext cx="5998165" cy="6849532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9"/>
          <p:cNvSpPr txBox="1">
            <a:spLocks noGrp="1"/>
          </p:cNvSpPr>
          <p:nvPr>
            <p:ph type="subTitle" idx="2"/>
          </p:nvPr>
        </p:nvSpPr>
        <p:spPr>
          <a:xfrm>
            <a:off x="1989700" y="5766333"/>
            <a:ext cx="22736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06038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70">
          <p15:clr>
            <a:srgbClr val="F26B43"/>
          </p15:clr>
        </p15:guide>
        <p15:guide id="2" pos="635">
          <p15:clr>
            <a:srgbClr val="F26B43"/>
          </p15:clr>
        </p15:guide>
        <p15:guide id="3" pos="288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 | Kapiteltrenner - Pattern V2 - Text">
  <p:cSld name="9 | Kapiteltrenner - Pattern V2 - Text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10"/>
          <p:cNvSpPr txBox="1">
            <a:spLocks noGrp="1"/>
          </p:cNvSpPr>
          <p:nvPr>
            <p:ph type="body" idx="1"/>
          </p:nvPr>
        </p:nvSpPr>
        <p:spPr>
          <a:xfrm>
            <a:off x="1343472" y="2493008"/>
            <a:ext cx="3672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Arial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1219170" lvl="1" indent="-304792" algn="ctr" rtl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Arial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828754" lvl="2" indent="-389457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SzPts val="1000"/>
              <a:buChar char="﹣"/>
              <a:defRPr sz="1333"/>
            </a:lvl3pPr>
            <a:lvl4pPr marL="2438339" lvl="3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3047924" lvl="4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3657509" lvl="5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4267093" lvl="6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4876678" lvl="7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5486263" lvl="8" indent="-304792" algn="ctr" rtl="0">
              <a:lnSpc>
                <a:spcPct val="85000"/>
              </a:lnSpc>
              <a:spcBef>
                <a:spcPts val="667"/>
              </a:spcBef>
              <a:spcAft>
                <a:spcPts val="667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cxnSp>
        <p:nvCxnSpPr>
          <p:cNvPr id="110" name="Google Shape;110;p10"/>
          <p:cNvCxnSpPr/>
          <p:nvPr/>
        </p:nvCxnSpPr>
        <p:spPr>
          <a:xfrm>
            <a:off x="2855328" y="5733256"/>
            <a:ext cx="64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1" name="Google Shape;111;p10"/>
          <p:cNvPicPr preferRelativeResize="0"/>
          <p:nvPr/>
        </p:nvPicPr>
        <p:blipFill rotWithShape="1">
          <a:blip r:embed="rId2">
            <a:alphaModFix/>
          </a:blip>
          <a:srcRect b="119"/>
          <a:stretch/>
        </p:blipFill>
        <p:spPr>
          <a:xfrm>
            <a:off x="6078443" y="8467"/>
            <a:ext cx="5998165" cy="6849532"/>
          </a:xfrm>
          <a:prstGeom prst="rect">
            <a:avLst/>
          </a:prstGeom>
          <a:noFill/>
          <a:ln>
            <a:noFill/>
          </a:ln>
        </p:spPr>
      </p:pic>
      <p:sp>
        <p:nvSpPr>
          <p:cNvPr id="112" name="Google Shape;112;p10"/>
          <p:cNvSpPr txBox="1">
            <a:spLocks noGrp="1"/>
          </p:cNvSpPr>
          <p:nvPr>
            <p:ph type="subTitle" idx="2"/>
          </p:nvPr>
        </p:nvSpPr>
        <p:spPr>
          <a:xfrm>
            <a:off x="1989700" y="5766333"/>
            <a:ext cx="22736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20817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70">
          <p15:clr>
            <a:srgbClr val="F26B43"/>
          </p15:clr>
        </p15:guide>
        <p15:guide id="2" pos="635">
          <p15:clr>
            <a:srgbClr val="F26B43"/>
          </p15:clr>
        </p15:guide>
        <p15:guide id="3" pos="288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 | Kapiteltrenner - Titel und Bild V1 - Nummer">
  <p:cSld name="10 | Kapiteltrenner - Titel und Bild V1 - Numm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1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8F5F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115;p11"/>
          <p:cNvSpPr txBox="1">
            <a:spLocks noGrp="1"/>
          </p:cNvSpPr>
          <p:nvPr>
            <p:ph type="title"/>
          </p:nvPr>
        </p:nvSpPr>
        <p:spPr>
          <a:xfrm>
            <a:off x="1343472" y="3537012"/>
            <a:ext cx="3672400" cy="9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1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11"/>
          <p:cNvSpPr txBox="1">
            <a:spLocks noGrp="1"/>
          </p:cNvSpPr>
          <p:nvPr>
            <p:ph type="body" idx="1"/>
          </p:nvPr>
        </p:nvSpPr>
        <p:spPr>
          <a:xfrm>
            <a:off x="1343472" y="5949280"/>
            <a:ext cx="36716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17" name="Google Shape;117;p11"/>
          <p:cNvCxnSpPr/>
          <p:nvPr/>
        </p:nvCxnSpPr>
        <p:spPr>
          <a:xfrm>
            <a:off x="2855328" y="5733256"/>
            <a:ext cx="64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" name="Google Shape;118;p11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119" name="Google Shape;119;p11"/>
          <p:cNvSpPr txBox="1">
            <a:spLocks noGrp="1"/>
          </p:cNvSpPr>
          <p:nvPr>
            <p:ph type="body" idx="3"/>
          </p:nvPr>
        </p:nvSpPr>
        <p:spPr>
          <a:xfrm>
            <a:off x="1343472" y="2493008"/>
            <a:ext cx="3672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Arial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1219170" lvl="1" indent="-304792" algn="ctr" rtl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Arial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828754" lvl="2" indent="-423323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SzPts val="1400"/>
              <a:buChar char="﹣"/>
              <a:defRPr/>
            </a:lvl3pPr>
            <a:lvl4pPr marL="2438339" lvl="3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3047924" lvl="4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3657509" lvl="5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4267093" lvl="6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4876678" lvl="7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5486263" lvl="8" indent="-304792" algn="ctr" rtl="0">
              <a:lnSpc>
                <a:spcPct val="85000"/>
              </a:lnSpc>
              <a:spcBef>
                <a:spcPts val="667"/>
              </a:spcBef>
              <a:spcAft>
                <a:spcPts val="667"/>
              </a:spcAft>
              <a:buClr>
                <a:schemeClr val="lt2"/>
              </a:buClr>
              <a:buSzPts val="6000"/>
              <a:buNone/>
              <a:defRPr sz="8000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20" name="Google Shape;120;p11"/>
          <p:cNvSpPr txBox="1">
            <a:spLocks noGrp="1"/>
          </p:cNvSpPr>
          <p:nvPr>
            <p:ph type="subTitle" idx="4"/>
          </p:nvPr>
        </p:nvSpPr>
        <p:spPr>
          <a:xfrm>
            <a:off x="1989700" y="5766333"/>
            <a:ext cx="22736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86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pos="2370">
          <p15:clr>
            <a:srgbClr val="F26B43"/>
          </p15:clr>
        </p15:guide>
        <p15:guide id="3" pos="635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 | Kapiteltrenner - Titel und Bild V2 - Text">
  <p:cSld name="11 | Kapiteltrenner - Titel und Bild V2 - Text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8F5F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12"/>
          <p:cNvSpPr txBox="1">
            <a:spLocks noGrp="1"/>
          </p:cNvSpPr>
          <p:nvPr>
            <p:ph type="body" idx="1"/>
          </p:nvPr>
        </p:nvSpPr>
        <p:spPr>
          <a:xfrm>
            <a:off x="1343472" y="2493008"/>
            <a:ext cx="3672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Arial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1219170" lvl="1" indent="-304792" algn="ctr" rtl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Arial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828754" lvl="2" indent="-423323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SzPts val="1400"/>
              <a:buChar char="﹣"/>
              <a:defRPr/>
            </a:lvl3pPr>
            <a:lvl4pPr marL="2438339" lvl="3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3047924" lvl="4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3657509" lvl="5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4267093" lvl="6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4876678" lvl="7" indent="-304792" algn="ctr" rtl="0">
              <a:lnSpc>
                <a:spcPct val="85000"/>
              </a:lnSpc>
              <a:spcBef>
                <a:spcPts val="667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5486263" lvl="8" indent="-304792" algn="ctr" rtl="0">
              <a:lnSpc>
                <a:spcPct val="85000"/>
              </a:lnSpc>
              <a:spcBef>
                <a:spcPts val="667"/>
              </a:spcBef>
              <a:spcAft>
                <a:spcPts val="667"/>
              </a:spcAft>
              <a:buClr>
                <a:schemeClr val="lt2"/>
              </a:buClr>
              <a:buSzPts val="3500"/>
              <a:buNone/>
              <a:defRPr sz="4667" b="0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cxnSp>
        <p:nvCxnSpPr>
          <p:cNvPr id="124" name="Google Shape;124;p12"/>
          <p:cNvCxnSpPr/>
          <p:nvPr/>
        </p:nvCxnSpPr>
        <p:spPr>
          <a:xfrm>
            <a:off x="2855328" y="5733256"/>
            <a:ext cx="64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" name="Google Shape;125;p12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126" name="Google Shape;126;p12"/>
          <p:cNvSpPr txBox="1">
            <a:spLocks noGrp="1"/>
          </p:cNvSpPr>
          <p:nvPr>
            <p:ph type="subTitle" idx="3"/>
          </p:nvPr>
        </p:nvSpPr>
        <p:spPr>
          <a:xfrm>
            <a:off x="1989700" y="5766333"/>
            <a:ext cx="22736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2230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pos="2370">
          <p15:clr>
            <a:srgbClr val="F26B43"/>
          </p15:clr>
        </p15:guide>
        <p15:guide id="3" pos="635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32757"/>
            <a:ext cx="5141792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5141792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9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7" name="Picture 6" descr="A picture containing computer, computer, design&#10;&#10;Description automatically generated">
            <a:extLst>
              <a:ext uri="{FF2B5EF4-FFF2-40B4-BE49-F238E27FC236}">
                <a16:creationId xmlns:a16="http://schemas.microsoft.com/office/drawing/2014/main" id="{68EB9399-A0D8-6D13-B22D-F834411F01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31509" y="858104"/>
            <a:ext cx="5141792" cy="5141792"/>
          </a:xfrm>
          <a:prstGeom prst="rect">
            <a:avLst/>
          </a:prstGeom>
        </p:spPr>
      </p:pic>
      <p:pic>
        <p:nvPicPr>
          <p:cNvPr id="9" name="Picture 8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EAAA0064-6067-E04D-AB0C-C16D17DF08A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24002" y="1159894"/>
            <a:ext cx="18197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9072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 | Einspaltiger Text">
  <p:cSld name="12 | Einspaltiger Text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3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9" name="Google Shape;129;p13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0" name="Google Shape;130;p13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13"/>
          <p:cNvSpPr txBox="1">
            <a:spLocks noGrp="1"/>
          </p:cNvSpPr>
          <p:nvPr>
            <p:ph type="subTitle" idx="2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13"/>
          <p:cNvSpPr txBox="1">
            <a:spLocks noGrp="1"/>
          </p:cNvSpPr>
          <p:nvPr>
            <p:ph type="body" idx="3"/>
          </p:nvPr>
        </p:nvSpPr>
        <p:spPr>
          <a:xfrm>
            <a:off x="371367" y="1701300"/>
            <a:ext cx="11448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27659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 | Zweispaltiger Text">
  <p:cSld name="13 | Zweispaltiger Tex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14"/>
          <p:cNvSpPr txBox="1">
            <a:spLocks noGrp="1"/>
          </p:cNvSpPr>
          <p:nvPr>
            <p:ph type="body" idx="1"/>
          </p:nvPr>
        </p:nvSpPr>
        <p:spPr>
          <a:xfrm>
            <a:off x="6203880" y="1701300"/>
            <a:ext cx="55152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7" name="Google Shape;137;p14"/>
          <p:cNvSpPr txBox="1">
            <a:spLocks noGrp="1"/>
          </p:cNvSpPr>
          <p:nvPr>
            <p:ph type="body" idx="2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3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4"/>
          <p:cNvSpPr txBox="1">
            <a:spLocks noGrp="1"/>
          </p:cNvSpPr>
          <p:nvPr>
            <p:ph type="body" idx="4"/>
          </p:nvPr>
        </p:nvSpPr>
        <p:spPr>
          <a:xfrm>
            <a:off x="371367" y="1701300"/>
            <a:ext cx="55152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96921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29">
          <p15:clr>
            <a:srgbClr val="A4A3A4"/>
          </p15:clr>
        </p15:guide>
        <p15:guide id="2" pos="2931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 | Dreispaltiger Text">
  <p:cSld name="14 | Dreispaltiger Text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5"/>
          <p:cNvSpPr txBox="1">
            <a:spLocks noGrp="1"/>
          </p:cNvSpPr>
          <p:nvPr>
            <p:ph type="body" idx="1"/>
          </p:nvPr>
        </p:nvSpPr>
        <p:spPr>
          <a:xfrm>
            <a:off x="368000" y="1701300"/>
            <a:ext cx="3672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5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4" name="Google Shape;144;p15"/>
          <p:cNvSpPr txBox="1">
            <a:spLocks noGrp="1"/>
          </p:cNvSpPr>
          <p:nvPr>
            <p:ph type="body" idx="2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5" name="Google Shape;145;p15"/>
          <p:cNvSpPr txBox="1">
            <a:spLocks noGrp="1"/>
          </p:cNvSpPr>
          <p:nvPr>
            <p:ph type="subTitle" idx="3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15"/>
          <p:cNvSpPr txBox="1">
            <a:spLocks noGrp="1"/>
          </p:cNvSpPr>
          <p:nvPr>
            <p:ph type="body" idx="4"/>
          </p:nvPr>
        </p:nvSpPr>
        <p:spPr>
          <a:xfrm>
            <a:off x="4258117" y="1701033"/>
            <a:ext cx="3672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7" name="Google Shape;147;p15"/>
          <p:cNvSpPr txBox="1">
            <a:spLocks noGrp="1"/>
          </p:cNvSpPr>
          <p:nvPr>
            <p:ph type="body" idx="5"/>
          </p:nvPr>
        </p:nvSpPr>
        <p:spPr>
          <a:xfrm>
            <a:off x="8148251" y="1701033"/>
            <a:ext cx="3672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92120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0">
          <p15:clr>
            <a:srgbClr val="A4A3A4"/>
          </p15:clr>
        </p15:guide>
        <p15:guide id="2" pos="2012">
          <p15:clr>
            <a:srgbClr val="A4A3A4"/>
          </p15:clr>
        </p15:guide>
        <p15:guide id="3" pos="3748">
          <p15:clr>
            <a:srgbClr val="A4A3A4"/>
          </p15:clr>
        </p15:guide>
        <p15:guide id="4" pos="385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 | Dreispaltiger Text - Box">
  <p:cSld name="15 | Dreispaltiger Text - Box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16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16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1" name="Google Shape;151;p16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2" name="Google Shape;152;p16"/>
          <p:cNvSpPr/>
          <p:nvPr/>
        </p:nvSpPr>
        <p:spPr>
          <a:xfrm>
            <a:off x="371364" y="4005256"/>
            <a:ext cx="11449200" cy="1728000"/>
          </a:xfrm>
          <a:prstGeom prst="rect">
            <a:avLst/>
          </a:prstGeom>
          <a:solidFill>
            <a:srgbClr val="F8F5F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67"/>
          </a:p>
        </p:txBody>
      </p:sp>
      <p:grpSp>
        <p:nvGrpSpPr>
          <p:cNvPr id="153" name="Google Shape;153;p16"/>
          <p:cNvGrpSpPr/>
          <p:nvPr/>
        </p:nvGrpSpPr>
        <p:grpSpPr>
          <a:xfrm>
            <a:off x="5916206" y="3825061"/>
            <a:ext cx="359524" cy="359961"/>
            <a:chOff x="238122" y="3199280"/>
            <a:chExt cx="707167" cy="708027"/>
          </a:xfrm>
        </p:grpSpPr>
        <p:sp>
          <p:nvSpPr>
            <p:cNvPr id="154" name="Google Shape;154;p16"/>
            <p:cNvSpPr/>
            <p:nvPr/>
          </p:nvSpPr>
          <p:spPr>
            <a:xfrm>
              <a:off x="264247" y="3225405"/>
              <a:ext cx="654910" cy="655778"/>
            </a:xfrm>
            <a:custGeom>
              <a:avLst/>
              <a:gdLst/>
              <a:ahLst/>
              <a:cxnLst/>
              <a:rect l="l" t="t" r="r" b="b"/>
              <a:pathLst>
                <a:path w="77688" h="77791" extrusionOk="0">
                  <a:moveTo>
                    <a:pt x="38844" y="0"/>
                  </a:moveTo>
                  <a:lnTo>
                    <a:pt x="36881" y="104"/>
                  </a:lnTo>
                  <a:lnTo>
                    <a:pt x="34918" y="207"/>
                  </a:lnTo>
                  <a:lnTo>
                    <a:pt x="32956" y="517"/>
                  </a:lnTo>
                  <a:lnTo>
                    <a:pt x="30993" y="827"/>
                  </a:lnTo>
                  <a:lnTo>
                    <a:pt x="29133" y="1240"/>
                  </a:lnTo>
                  <a:lnTo>
                    <a:pt x="27274" y="1756"/>
                  </a:lnTo>
                  <a:lnTo>
                    <a:pt x="25517" y="2376"/>
                  </a:lnTo>
                  <a:lnTo>
                    <a:pt x="23761" y="3099"/>
                  </a:lnTo>
                  <a:lnTo>
                    <a:pt x="22005" y="3926"/>
                  </a:lnTo>
                  <a:lnTo>
                    <a:pt x="20352" y="4752"/>
                  </a:lnTo>
                  <a:lnTo>
                    <a:pt x="18699" y="5682"/>
                  </a:lnTo>
                  <a:lnTo>
                    <a:pt x="17149" y="6715"/>
                  </a:lnTo>
                  <a:lnTo>
                    <a:pt x="15600" y="7748"/>
                  </a:lnTo>
                  <a:lnTo>
                    <a:pt x="14153" y="8885"/>
                  </a:lnTo>
                  <a:lnTo>
                    <a:pt x="12707" y="10124"/>
                  </a:lnTo>
                  <a:lnTo>
                    <a:pt x="11364" y="11467"/>
                  </a:lnTo>
                  <a:lnTo>
                    <a:pt x="10124" y="12810"/>
                  </a:lnTo>
                  <a:lnTo>
                    <a:pt x="8885" y="14153"/>
                  </a:lnTo>
                  <a:lnTo>
                    <a:pt x="7748" y="15703"/>
                  </a:lnTo>
                  <a:lnTo>
                    <a:pt x="6612" y="17149"/>
                  </a:lnTo>
                  <a:lnTo>
                    <a:pt x="5579" y="18802"/>
                  </a:lnTo>
                  <a:lnTo>
                    <a:pt x="4649" y="20352"/>
                  </a:lnTo>
                  <a:lnTo>
                    <a:pt x="3823" y="22108"/>
                  </a:lnTo>
                  <a:lnTo>
                    <a:pt x="3099" y="23761"/>
                  </a:lnTo>
                  <a:lnTo>
                    <a:pt x="2376" y="25517"/>
                  </a:lnTo>
                  <a:lnTo>
                    <a:pt x="1756" y="27377"/>
                  </a:lnTo>
                  <a:lnTo>
                    <a:pt x="1240" y="29236"/>
                  </a:lnTo>
                  <a:lnTo>
                    <a:pt x="827" y="31096"/>
                  </a:lnTo>
                  <a:lnTo>
                    <a:pt x="413" y="32955"/>
                  </a:lnTo>
                  <a:lnTo>
                    <a:pt x="207" y="34918"/>
                  </a:lnTo>
                  <a:lnTo>
                    <a:pt x="0" y="36881"/>
                  </a:lnTo>
                  <a:lnTo>
                    <a:pt x="0" y="38947"/>
                  </a:lnTo>
                  <a:lnTo>
                    <a:pt x="0" y="40910"/>
                  </a:lnTo>
                  <a:lnTo>
                    <a:pt x="207" y="42873"/>
                  </a:lnTo>
                  <a:lnTo>
                    <a:pt x="413" y="44836"/>
                  </a:lnTo>
                  <a:lnTo>
                    <a:pt x="827" y="46695"/>
                  </a:lnTo>
                  <a:lnTo>
                    <a:pt x="1240" y="48555"/>
                  </a:lnTo>
                  <a:lnTo>
                    <a:pt x="1756" y="50414"/>
                  </a:lnTo>
                  <a:lnTo>
                    <a:pt x="2376" y="52274"/>
                  </a:lnTo>
                  <a:lnTo>
                    <a:pt x="3099" y="54030"/>
                  </a:lnTo>
                  <a:lnTo>
                    <a:pt x="3823" y="55683"/>
                  </a:lnTo>
                  <a:lnTo>
                    <a:pt x="4649" y="57439"/>
                  </a:lnTo>
                  <a:lnTo>
                    <a:pt x="5579" y="58989"/>
                  </a:lnTo>
                  <a:lnTo>
                    <a:pt x="6612" y="60642"/>
                  </a:lnTo>
                  <a:lnTo>
                    <a:pt x="7748" y="62088"/>
                  </a:lnTo>
                  <a:lnTo>
                    <a:pt x="8885" y="63638"/>
                  </a:lnTo>
                  <a:lnTo>
                    <a:pt x="10124" y="64981"/>
                  </a:lnTo>
                  <a:lnTo>
                    <a:pt x="11364" y="66324"/>
                  </a:lnTo>
                  <a:lnTo>
                    <a:pt x="12707" y="67667"/>
                  </a:lnTo>
                  <a:lnTo>
                    <a:pt x="14153" y="68906"/>
                  </a:lnTo>
                  <a:lnTo>
                    <a:pt x="15600" y="70043"/>
                  </a:lnTo>
                  <a:lnTo>
                    <a:pt x="17149" y="71076"/>
                  </a:lnTo>
                  <a:lnTo>
                    <a:pt x="18699" y="72109"/>
                  </a:lnTo>
                  <a:lnTo>
                    <a:pt x="20352" y="73039"/>
                  </a:lnTo>
                  <a:lnTo>
                    <a:pt x="22005" y="73968"/>
                  </a:lnTo>
                  <a:lnTo>
                    <a:pt x="23761" y="74692"/>
                  </a:lnTo>
                  <a:lnTo>
                    <a:pt x="25517" y="75415"/>
                  </a:lnTo>
                  <a:lnTo>
                    <a:pt x="27274" y="76035"/>
                  </a:lnTo>
                  <a:lnTo>
                    <a:pt x="29133" y="76551"/>
                  </a:lnTo>
                  <a:lnTo>
                    <a:pt x="30993" y="76964"/>
                  </a:lnTo>
                  <a:lnTo>
                    <a:pt x="32956" y="77274"/>
                  </a:lnTo>
                  <a:lnTo>
                    <a:pt x="34918" y="77584"/>
                  </a:lnTo>
                  <a:lnTo>
                    <a:pt x="36881" y="77687"/>
                  </a:lnTo>
                  <a:lnTo>
                    <a:pt x="38844" y="77791"/>
                  </a:lnTo>
                  <a:lnTo>
                    <a:pt x="40807" y="77687"/>
                  </a:lnTo>
                  <a:lnTo>
                    <a:pt x="42770" y="77584"/>
                  </a:lnTo>
                  <a:lnTo>
                    <a:pt x="44733" y="77274"/>
                  </a:lnTo>
                  <a:lnTo>
                    <a:pt x="46695" y="76964"/>
                  </a:lnTo>
                  <a:lnTo>
                    <a:pt x="48555" y="76551"/>
                  </a:lnTo>
                  <a:lnTo>
                    <a:pt x="50415" y="76035"/>
                  </a:lnTo>
                  <a:lnTo>
                    <a:pt x="52171" y="75415"/>
                  </a:lnTo>
                  <a:lnTo>
                    <a:pt x="53927" y="74692"/>
                  </a:lnTo>
                  <a:lnTo>
                    <a:pt x="55683" y="73968"/>
                  </a:lnTo>
                  <a:lnTo>
                    <a:pt x="57336" y="73039"/>
                  </a:lnTo>
                  <a:lnTo>
                    <a:pt x="58989" y="72109"/>
                  </a:lnTo>
                  <a:lnTo>
                    <a:pt x="60539" y="71076"/>
                  </a:lnTo>
                  <a:lnTo>
                    <a:pt x="62088" y="70043"/>
                  </a:lnTo>
                  <a:lnTo>
                    <a:pt x="63535" y="68906"/>
                  </a:lnTo>
                  <a:lnTo>
                    <a:pt x="64981" y="67667"/>
                  </a:lnTo>
                  <a:lnTo>
                    <a:pt x="66324" y="66324"/>
                  </a:lnTo>
                  <a:lnTo>
                    <a:pt x="67564" y="64981"/>
                  </a:lnTo>
                  <a:lnTo>
                    <a:pt x="68803" y="63638"/>
                  </a:lnTo>
                  <a:lnTo>
                    <a:pt x="69940" y="62088"/>
                  </a:lnTo>
                  <a:lnTo>
                    <a:pt x="71076" y="60642"/>
                  </a:lnTo>
                  <a:lnTo>
                    <a:pt x="72109" y="58989"/>
                  </a:lnTo>
                  <a:lnTo>
                    <a:pt x="73039" y="57439"/>
                  </a:lnTo>
                  <a:lnTo>
                    <a:pt x="73865" y="55683"/>
                  </a:lnTo>
                  <a:lnTo>
                    <a:pt x="74692" y="54030"/>
                  </a:lnTo>
                  <a:lnTo>
                    <a:pt x="75312" y="52274"/>
                  </a:lnTo>
                  <a:lnTo>
                    <a:pt x="75932" y="50414"/>
                  </a:lnTo>
                  <a:lnTo>
                    <a:pt x="76448" y="48555"/>
                  </a:lnTo>
                  <a:lnTo>
                    <a:pt x="76965" y="46695"/>
                  </a:lnTo>
                  <a:lnTo>
                    <a:pt x="77275" y="44836"/>
                  </a:lnTo>
                  <a:lnTo>
                    <a:pt x="77481" y="42873"/>
                  </a:lnTo>
                  <a:lnTo>
                    <a:pt x="77688" y="40910"/>
                  </a:lnTo>
                  <a:lnTo>
                    <a:pt x="77688" y="38947"/>
                  </a:lnTo>
                  <a:lnTo>
                    <a:pt x="77688" y="36881"/>
                  </a:lnTo>
                  <a:lnTo>
                    <a:pt x="77481" y="34918"/>
                  </a:lnTo>
                  <a:lnTo>
                    <a:pt x="77275" y="32955"/>
                  </a:lnTo>
                  <a:lnTo>
                    <a:pt x="76965" y="31096"/>
                  </a:lnTo>
                  <a:lnTo>
                    <a:pt x="76448" y="29236"/>
                  </a:lnTo>
                  <a:lnTo>
                    <a:pt x="75932" y="27377"/>
                  </a:lnTo>
                  <a:lnTo>
                    <a:pt x="75312" y="25517"/>
                  </a:lnTo>
                  <a:lnTo>
                    <a:pt x="74692" y="23761"/>
                  </a:lnTo>
                  <a:lnTo>
                    <a:pt x="73865" y="22108"/>
                  </a:lnTo>
                  <a:lnTo>
                    <a:pt x="73039" y="20352"/>
                  </a:lnTo>
                  <a:lnTo>
                    <a:pt x="72109" y="18802"/>
                  </a:lnTo>
                  <a:lnTo>
                    <a:pt x="71076" y="17149"/>
                  </a:lnTo>
                  <a:lnTo>
                    <a:pt x="69940" y="15703"/>
                  </a:lnTo>
                  <a:lnTo>
                    <a:pt x="68803" y="14153"/>
                  </a:lnTo>
                  <a:lnTo>
                    <a:pt x="67564" y="12810"/>
                  </a:lnTo>
                  <a:lnTo>
                    <a:pt x="66324" y="11467"/>
                  </a:lnTo>
                  <a:lnTo>
                    <a:pt x="64981" y="10124"/>
                  </a:lnTo>
                  <a:lnTo>
                    <a:pt x="63535" y="8885"/>
                  </a:lnTo>
                  <a:lnTo>
                    <a:pt x="62088" y="7748"/>
                  </a:lnTo>
                  <a:lnTo>
                    <a:pt x="60539" y="6715"/>
                  </a:lnTo>
                  <a:lnTo>
                    <a:pt x="58989" y="5682"/>
                  </a:lnTo>
                  <a:lnTo>
                    <a:pt x="57336" y="4752"/>
                  </a:lnTo>
                  <a:lnTo>
                    <a:pt x="55683" y="3926"/>
                  </a:lnTo>
                  <a:lnTo>
                    <a:pt x="53927" y="3099"/>
                  </a:lnTo>
                  <a:lnTo>
                    <a:pt x="52171" y="2376"/>
                  </a:lnTo>
                  <a:lnTo>
                    <a:pt x="50415" y="1756"/>
                  </a:lnTo>
                  <a:lnTo>
                    <a:pt x="48555" y="1240"/>
                  </a:lnTo>
                  <a:lnTo>
                    <a:pt x="46695" y="827"/>
                  </a:lnTo>
                  <a:lnTo>
                    <a:pt x="44733" y="517"/>
                  </a:lnTo>
                  <a:lnTo>
                    <a:pt x="42770" y="207"/>
                  </a:lnTo>
                  <a:lnTo>
                    <a:pt x="40807" y="104"/>
                  </a:lnTo>
                  <a:lnTo>
                    <a:pt x="388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155;p16"/>
            <p:cNvSpPr/>
            <p:nvPr/>
          </p:nvSpPr>
          <p:spPr>
            <a:xfrm>
              <a:off x="264247" y="3225405"/>
              <a:ext cx="654910" cy="655778"/>
            </a:xfrm>
            <a:custGeom>
              <a:avLst/>
              <a:gdLst/>
              <a:ahLst/>
              <a:cxnLst/>
              <a:rect l="l" t="t" r="r" b="b"/>
              <a:pathLst>
                <a:path w="77688" h="77791" extrusionOk="0">
                  <a:moveTo>
                    <a:pt x="56200" y="31096"/>
                  </a:moveTo>
                  <a:lnTo>
                    <a:pt x="57336" y="32232"/>
                  </a:lnTo>
                  <a:lnTo>
                    <a:pt x="58369" y="33369"/>
                  </a:lnTo>
                  <a:lnTo>
                    <a:pt x="38741" y="51861"/>
                  </a:lnTo>
                  <a:lnTo>
                    <a:pt x="19216" y="33369"/>
                  </a:lnTo>
                  <a:lnTo>
                    <a:pt x="20249" y="32232"/>
                  </a:lnTo>
                  <a:lnTo>
                    <a:pt x="21282" y="31096"/>
                  </a:lnTo>
                  <a:lnTo>
                    <a:pt x="22521" y="32232"/>
                  </a:lnTo>
                  <a:lnTo>
                    <a:pt x="38741" y="47522"/>
                  </a:lnTo>
                  <a:lnTo>
                    <a:pt x="55063" y="32232"/>
                  </a:lnTo>
                  <a:lnTo>
                    <a:pt x="56200" y="31096"/>
                  </a:lnTo>
                  <a:close/>
                  <a:moveTo>
                    <a:pt x="38844" y="0"/>
                  </a:moveTo>
                  <a:lnTo>
                    <a:pt x="36881" y="104"/>
                  </a:lnTo>
                  <a:lnTo>
                    <a:pt x="34918" y="207"/>
                  </a:lnTo>
                  <a:lnTo>
                    <a:pt x="32956" y="517"/>
                  </a:lnTo>
                  <a:lnTo>
                    <a:pt x="30993" y="827"/>
                  </a:lnTo>
                  <a:lnTo>
                    <a:pt x="29133" y="1240"/>
                  </a:lnTo>
                  <a:lnTo>
                    <a:pt x="27274" y="1756"/>
                  </a:lnTo>
                  <a:lnTo>
                    <a:pt x="25517" y="2376"/>
                  </a:lnTo>
                  <a:lnTo>
                    <a:pt x="23761" y="3099"/>
                  </a:lnTo>
                  <a:lnTo>
                    <a:pt x="22005" y="3926"/>
                  </a:lnTo>
                  <a:lnTo>
                    <a:pt x="20352" y="4752"/>
                  </a:lnTo>
                  <a:lnTo>
                    <a:pt x="18699" y="5682"/>
                  </a:lnTo>
                  <a:lnTo>
                    <a:pt x="17149" y="6715"/>
                  </a:lnTo>
                  <a:lnTo>
                    <a:pt x="15600" y="7748"/>
                  </a:lnTo>
                  <a:lnTo>
                    <a:pt x="14153" y="8885"/>
                  </a:lnTo>
                  <a:lnTo>
                    <a:pt x="12707" y="10124"/>
                  </a:lnTo>
                  <a:lnTo>
                    <a:pt x="11364" y="11467"/>
                  </a:lnTo>
                  <a:lnTo>
                    <a:pt x="10124" y="12810"/>
                  </a:lnTo>
                  <a:lnTo>
                    <a:pt x="8885" y="14153"/>
                  </a:lnTo>
                  <a:lnTo>
                    <a:pt x="7748" y="15703"/>
                  </a:lnTo>
                  <a:lnTo>
                    <a:pt x="6612" y="17149"/>
                  </a:lnTo>
                  <a:lnTo>
                    <a:pt x="5579" y="18802"/>
                  </a:lnTo>
                  <a:lnTo>
                    <a:pt x="4649" y="20352"/>
                  </a:lnTo>
                  <a:lnTo>
                    <a:pt x="3823" y="22108"/>
                  </a:lnTo>
                  <a:lnTo>
                    <a:pt x="3099" y="23761"/>
                  </a:lnTo>
                  <a:lnTo>
                    <a:pt x="2376" y="25517"/>
                  </a:lnTo>
                  <a:lnTo>
                    <a:pt x="1756" y="27377"/>
                  </a:lnTo>
                  <a:lnTo>
                    <a:pt x="1240" y="29236"/>
                  </a:lnTo>
                  <a:lnTo>
                    <a:pt x="827" y="31096"/>
                  </a:lnTo>
                  <a:lnTo>
                    <a:pt x="413" y="32955"/>
                  </a:lnTo>
                  <a:lnTo>
                    <a:pt x="207" y="34918"/>
                  </a:lnTo>
                  <a:lnTo>
                    <a:pt x="0" y="36881"/>
                  </a:lnTo>
                  <a:lnTo>
                    <a:pt x="0" y="38947"/>
                  </a:lnTo>
                  <a:lnTo>
                    <a:pt x="0" y="40910"/>
                  </a:lnTo>
                  <a:lnTo>
                    <a:pt x="207" y="42873"/>
                  </a:lnTo>
                  <a:lnTo>
                    <a:pt x="413" y="44836"/>
                  </a:lnTo>
                  <a:lnTo>
                    <a:pt x="827" y="46695"/>
                  </a:lnTo>
                  <a:lnTo>
                    <a:pt x="1240" y="48555"/>
                  </a:lnTo>
                  <a:lnTo>
                    <a:pt x="1756" y="50414"/>
                  </a:lnTo>
                  <a:lnTo>
                    <a:pt x="2376" y="52274"/>
                  </a:lnTo>
                  <a:lnTo>
                    <a:pt x="3099" y="54030"/>
                  </a:lnTo>
                  <a:lnTo>
                    <a:pt x="3823" y="55683"/>
                  </a:lnTo>
                  <a:lnTo>
                    <a:pt x="4649" y="57439"/>
                  </a:lnTo>
                  <a:lnTo>
                    <a:pt x="5579" y="58989"/>
                  </a:lnTo>
                  <a:lnTo>
                    <a:pt x="6612" y="60642"/>
                  </a:lnTo>
                  <a:lnTo>
                    <a:pt x="7748" y="62088"/>
                  </a:lnTo>
                  <a:lnTo>
                    <a:pt x="8885" y="63638"/>
                  </a:lnTo>
                  <a:lnTo>
                    <a:pt x="10124" y="64981"/>
                  </a:lnTo>
                  <a:lnTo>
                    <a:pt x="11364" y="66324"/>
                  </a:lnTo>
                  <a:lnTo>
                    <a:pt x="12707" y="67667"/>
                  </a:lnTo>
                  <a:lnTo>
                    <a:pt x="14153" y="68906"/>
                  </a:lnTo>
                  <a:lnTo>
                    <a:pt x="15600" y="70043"/>
                  </a:lnTo>
                  <a:lnTo>
                    <a:pt x="17149" y="71076"/>
                  </a:lnTo>
                  <a:lnTo>
                    <a:pt x="18699" y="72109"/>
                  </a:lnTo>
                  <a:lnTo>
                    <a:pt x="20352" y="73039"/>
                  </a:lnTo>
                  <a:lnTo>
                    <a:pt x="22005" y="73968"/>
                  </a:lnTo>
                  <a:lnTo>
                    <a:pt x="23761" y="74692"/>
                  </a:lnTo>
                  <a:lnTo>
                    <a:pt x="25517" y="75415"/>
                  </a:lnTo>
                  <a:lnTo>
                    <a:pt x="27274" y="76035"/>
                  </a:lnTo>
                  <a:lnTo>
                    <a:pt x="29133" y="76551"/>
                  </a:lnTo>
                  <a:lnTo>
                    <a:pt x="30993" y="76964"/>
                  </a:lnTo>
                  <a:lnTo>
                    <a:pt x="32956" y="77274"/>
                  </a:lnTo>
                  <a:lnTo>
                    <a:pt x="34918" y="77584"/>
                  </a:lnTo>
                  <a:lnTo>
                    <a:pt x="36881" y="77687"/>
                  </a:lnTo>
                  <a:lnTo>
                    <a:pt x="38844" y="77791"/>
                  </a:lnTo>
                  <a:lnTo>
                    <a:pt x="40807" y="77687"/>
                  </a:lnTo>
                  <a:lnTo>
                    <a:pt x="42770" y="77584"/>
                  </a:lnTo>
                  <a:lnTo>
                    <a:pt x="44733" y="77274"/>
                  </a:lnTo>
                  <a:lnTo>
                    <a:pt x="46695" y="76964"/>
                  </a:lnTo>
                  <a:lnTo>
                    <a:pt x="48555" y="76551"/>
                  </a:lnTo>
                  <a:lnTo>
                    <a:pt x="50415" y="76035"/>
                  </a:lnTo>
                  <a:lnTo>
                    <a:pt x="52171" y="75415"/>
                  </a:lnTo>
                  <a:lnTo>
                    <a:pt x="53927" y="74692"/>
                  </a:lnTo>
                  <a:lnTo>
                    <a:pt x="55683" y="73968"/>
                  </a:lnTo>
                  <a:lnTo>
                    <a:pt x="57336" y="73039"/>
                  </a:lnTo>
                  <a:lnTo>
                    <a:pt x="58989" y="72109"/>
                  </a:lnTo>
                  <a:lnTo>
                    <a:pt x="60539" y="71076"/>
                  </a:lnTo>
                  <a:lnTo>
                    <a:pt x="62088" y="70043"/>
                  </a:lnTo>
                  <a:lnTo>
                    <a:pt x="63535" y="68906"/>
                  </a:lnTo>
                  <a:lnTo>
                    <a:pt x="64981" y="67667"/>
                  </a:lnTo>
                  <a:lnTo>
                    <a:pt x="66324" y="66324"/>
                  </a:lnTo>
                  <a:lnTo>
                    <a:pt x="67564" y="64981"/>
                  </a:lnTo>
                  <a:lnTo>
                    <a:pt x="68803" y="63638"/>
                  </a:lnTo>
                  <a:lnTo>
                    <a:pt x="69940" y="62088"/>
                  </a:lnTo>
                  <a:lnTo>
                    <a:pt x="71076" y="60642"/>
                  </a:lnTo>
                  <a:lnTo>
                    <a:pt x="72109" y="58989"/>
                  </a:lnTo>
                  <a:lnTo>
                    <a:pt x="73039" y="57439"/>
                  </a:lnTo>
                  <a:lnTo>
                    <a:pt x="73865" y="55683"/>
                  </a:lnTo>
                  <a:lnTo>
                    <a:pt x="74692" y="54030"/>
                  </a:lnTo>
                  <a:lnTo>
                    <a:pt x="75312" y="52274"/>
                  </a:lnTo>
                  <a:lnTo>
                    <a:pt x="75932" y="50414"/>
                  </a:lnTo>
                  <a:lnTo>
                    <a:pt x="76448" y="48555"/>
                  </a:lnTo>
                  <a:lnTo>
                    <a:pt x="76965" y="46695"/>
                  </a:lnTo>
                  <a:lnTo>
                    <a:pt x="77275" y="44836"/>
                  </a:lnTo>
                  <a:lnTo>
                    <a:pt x="77481" y="42873"/>
                  </a:lnTo>
                  <a:lnTo>
                    <a:pt x="77688" y="40910"/>
                  </a:lnTo>
                  <a:lnTo>
                    <a:pt x="77688" y="38947"/>
                  </a:lnTo>
                  <a:lnTo>
                    <a:pt x="77688" y="36881"/>
                  </a:lnTo>
                  <a:lnTo>
                    <a:pt x="77481" y="34918"/>
                  </a:lnTo>
                  <a:lnTo>
                    <a:pt x="77275" y="32955"/>
                  </a:lnTo>
                  <a:lnTo>
                    <a:pt x="76965" y="31096"/>
                  </a:lnTo>
                  <a:lnTo>
                    <a:pt x="76448" y="29236"/>
                  </a:lnTo>
                  <a:lnTo>
                    <a:pt x="75932" y="27377"/>
                  </a:lnTo>
                  <a:lnTo>
                    <a:pt x="75312" y="25517"/>
                  </a:lnTo>
                  <a:lnTo>
                    <a:pt x="74692" y="23761"/>
                  </a:lnTo>
                  <a:lnTo>
                    <a:pt x="73865" y="22108"/>
                  </a:lnTo>
                  <a:lnTo>
                    <a:pt x="73039" y="20352"/>
                  </a:lnTo>
                  <a:lnTo>
                    <a:pt x="72109" y="18802"/>
                  </a:lnTo>
                  <a:lnTo>
                    <a:pt x="71076" y="17149"/>
                  </a:lnTo>
                  <a:lnTo>
                    <a:pt x="69940" y="15703"/>
                  </a:lnTo>
                  <a:lnTo>
                    <a:pt x="68803" y="14153"/>
                  </a:lnTo>
                  <a:lnTo>
                    <a:pt x="67564" y="12810"/>
                  </a:lnTo>
                  <a:lnTo>
                    <a:pt x="66324" y="11467"/>
                  </a:lnTo>
                  <a:lnTo>
                    <a:pt x="64981" y="10124"/>
                  </a:lnTo>
                  <a:lnTo>
                    <a:pt x="63535" y="8885"/>
                  </a:lnTo>
                  <a:lnTo>
                    <a:pt x="62088" y="7748"/>
                  </a:lnTo>
                  <a:lnTo>
                    <a:pt x="60539" y="6715"/>
                  </a:lnTo>
                  <a:lnTo>
                    <a:pt x="58989" y="5682"/>
                  </a:lnTo>
                  <a:lnTo>
                    <a:pt x="57336" y="4752"/>
                  </a:lnTo>
                  <a:lnTo>
                    <a:pt x="55683" y="3926"/>
                  </a:lnTo>
                  <a:lnTo>
                    <a:pt x="53927" y="3099"/>
                  </a:lnTo>
                  <a:lnTo>
                    <a:pt x="52171" y="2376"/>
                  </a:lnTo>
                  <a:lnTo>
                    <a:pt x="50415" y="1756"/>
                  </a:lnTo>
                  <a:lnTo>
                    <a:pt x="48555" y="1240"/>
                  </a:lnTo>
                  <a:lnTo>
                    <a:pt x="46695" y="827"/>
                  </a:lnTo>
                  <a:lnTo>
                    <a:pt x="44733" y="517"/>
                  </a:lnTo>
                  <a:lnTo>
                    <a:pt x="42770" y="207"/>
                  </a:lnTo>
                  <a:lnTo>
                    <a:pt x="40807" y="104"/>
                  </a:lnTo>
                  <a:lnTo>
                    <a:pt x="388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Google Shape;156;p16"/>
            <p:cNvSpPr/>
            <p:nvPr/>
          </p:nvSpPr>
          <p:spPr>
            <a:xfrm>
              <a:off x="238122" y="3199280"/>
              <a:ext cx="707167" cy="708027"/>
            </a:xfrm>
            <a:custGeom>
              <a:avLst/>
              <a:gdLst/>
              <a:ahLst/>
              <a:cxnLst/>
              <a:rect l="l" t="t" r="r" b="b"/>
              <a:pathLst>
                <a:path w="83887" h="83989" extrusionOk="0">
                  <a:moveTo>
                    <a:pt x="41943" y="3099"/>
                  </a:moveTo>
                  <a:lnTo>
                    <a:pt x="43906" y="3203"/>
                  </a:lnTo>
                  <a:lnTo>
                    <a:pt x="45869" y="3306"/>
                  </a:lnTo>
                  <a:lnTo>
                    <a:pt x="47832" y="3616"/>
                  </a:lnTo>
                  <a:lnTo>
                    <a:pt x="49794" y="3926"/>
                  </a:lnTo>
                  <a:lnTo>
                    <a:pt x="51654" y="4339"/>
                  </a:lnTo>
                  <a:lnTo>
                    <a:pt x="53514" y="4855"/>
                  </a:lnTo>
                  <a:lnTo>
                    <a:pt x="55270" y="5475"/>
                  </a:lnTo>
                  <a:lnTo>
                    <a:pt x="57026" y="6198"/>
                  </a:lnTo>
                  <a:lnTo>
                    <a:pt x="58782" y="7025"/>
                  </a:lnTo>
                  <a:lnTo>
                    <a:pt x="60435" y="7851"/>
                  </a:lnTo>
                  <a:lnTo>
                    <a:pt x="62088" y="8781"/>
                  </a:lnTo>
                  <a:lnTo>
                    <a:pt x="63638" y="9814"/>
                  </a:lnTo>
                  <a:lnTo>
                    <a:pt x="65187" y="10847"/>
                  </a:lnTo>
                  <a:lnTo>
                    <a:pt x="66634" y="11984"/>
                  </a:lnTo>
                  <a:lnTo>
                    <a:pt x="68080" y="13223"/>
                  </a:lnTo>
                  <a:lnTo>
                    <a:pt x="69423" y="14566"/>
                  </a:lnTo>
                  <a:lnTo>
                    <a:pt x="70663" y="15909"/>
                  </a:lnTo>
                  <a:lnTo>
                    <a:pt x="71902" y="17252"/>
                  </a:lnTo>
                  <a:lnTo>
                    <a:pt x="73039" y="18802"/>
                  </a:lnTo>
                  <a:lnTo>
                    <a:pt x="74175" y="20248"/>
                  </a:lnTo>
                  <a:lnTo>
                    <a:pt x="75208" y="21901"/>
                  </a:lnTo>
                  <a:lnTo>
                    <a:pt x="76138" y="23451"/>
                  </a:lnTo>
                  <a:lnTo>
                    <a:pt x="76964" y="25207"/>
                  </a:lnTo>
                  <a:lnTo>
                    <a:pt x="77791" y="26860"/>
                  </a:lnTo>
                  <a:lnTo>
                    <a:pt x="78411" y="28616"/>
                  </a:lnTo>
                  <a:lnTo>
                    <a:pt x="79031" y="30476"/>
                  </a:lnTo>
                  <a:lnTo>
                    <a:pt x="79547" y="32335"/>
                  </a:lnTo>
                  <a:lnTo>
                    <a:pt x="80064" y="34195"/>
                  </a:lnTo>
                  <a:lnTo>
                    <a:pt x="80374" y="36054"/>
                  </a:lnTo>
                  <a:lnTo>
                    <a:pt x="80580" y="38017"/>
                  </a:lnTo>
                  <a:lnTo>
                    <a:pt x="80787" y="39980"/>
                  </a:lnTo>
                  <a:lnTo>
                    <a:pt x="80787" y="42046"/>
                  </a:lnTo>
                  <a:lnTo>
                    <a:pt x="80787" y="44009"/>
                  </a:lnTo>
                  <a:lnTo>
                    <a:pt x="80580" y="45972"/>
                  </a:lnTo>
                  <a:lnTo>
                    <a:pt x="80374" y="47935"/>
                  </a:lnTo>
                  <a:lnTo>
                    <a:pt x="80064" y="49794"/>
                  </a:lnTo>
                  <a:lnTo>
                    <a:pt x="79547" y="51654"/>
                  </a:lnTo>
                  <a:lnTo>
                    <a:pt x="79031" y="53513"/>
                  </a:lnTo>
                  <a:lnTo>
                    <a:pt x="78411" y="55373"/>
                  </a:lnTo>
                  <a:lnTo>
                    <a:pt x="77791" y="57129"/>
                  </a:lnTo>
                  <a:lnTo>
                    <a:pt x="76964" y="58782"/>
                  </a:lnTo>
                  <a:lnTo>
                    <a:pt x="76138" y="60538"/>
                  </a:lnTo>
                  <a:lnTo>
                    <a:pt x="75208" y="62088"/>
                  </a:lnTo>
                  <a:lnTo>
                    <a:pt x="74175" y="63741"/>
                  </a:lnTo>
                  <a:lnTo>
                    <a:pt x="73039" y="65187"/>
                  </a:lnTo>
                  <a:lnTo>
                    <a:pt x="71902" y="66737"/>
                  </a:lnTo>
                  <a:lnTo>
                    <a:pt x="70663" y="68080"/>
                  </a:lnTo>
                  <a:lnTo>
                    <a:pt x="69423" y="69423"/>
                  </a:lnTo>
                  <a:lnTo>
                    <a:pt x="68080" y="70766"/>
                  </a:lnTo>
                  <a:lnTo>
                    <a:pt x="66634" y="72005"/>
                  </a:lnTo>
                  <a:lnTo>
                    <a:pt x="65187" y="73142"/>
                  </a:lnTo>
                  <a:lnTo>
                    <a:pt x="63638" y="74175"/>
                  </a:lnTo>
                  <a:lnTo>
                    <a:pt x="62088" y="75208"/>
                  </a:lnTo>
                  <a:lnTo>
                    <a:pt x="60435" y="76138"/>
                  </a:lnTo>
                  <a:lnTo>
                    <a:pt x="58782" y="77067"/>
                  </a:lnTo>
                  <a:lnTo>
                    <a:pt x="57026" y="77791"/>
                  </a:lnTo>
                  <a:lnTo>
                    <a:pt x="55270" y="78514"/>
                  </a:lnTo>
                  <a:lnTo>
                    <a:pt x="53514" y="79134"/>
                  </a:lnTo>
                  <a:lnTo>
                    <a:pt x="51654" y="79650"/>
                  </a:lnTo>
                  <a:lnTo>
                    <a:pt x="49794" y="80063"/>
                  </a:lnTo>
                  <a:lnTo>
                    <a:pt x="47832" y="80373"/>
                  </a:lnTo>
                  <a:lnTo>
                    <a:pt x="45869" y="80683"/>
                  </a:lnTo>
                  <a:lnTo>
                    <a:pt x="43906" y="80786"/>
                  </a:lnTo>
                  <a:lnTo>
                    <a:pt x="41943" y="80890"/>
                  </a:lnTo>
                  <a:lnTo>
                    <a:pt x="39980" y="80786"/>
                  </a:lnTo>
                  <a:lnTo>
                    <a:pt x="38017" y="80683"/>
                  </a:lnTo>
                  <a:lnTo>
                    <a:pt x="36055" y="80373"/>
                  </a:lnTo>
                  <a:lnTo>
                    <a:pt x="34092" y="80063"/>
                  </a:lnTo>
                  <a:lnTo>
                    <a:pt x="32232" y="79650"/>
                  </a:lnTo>
                  <a:lnTo>
                    <a:pt x="30373" y="79134"/>
                  </a:lnTo>
                  <a:lnTo>
                    <a:pt x="28616" y="78514"/>
                  </a:lnTo>
                  <a:lnTo>
                    <a:pt x="26860" y="77791"/>
                  </a:lnTo>
                  <a:lnTo>
                    <a:pt x="25104" y="77067"/>
                  </a:lnTo>
                  <a:lnTo>
                    <a:pt x="23451" y="76138"/>
                  </a:lnTo>
                  <a:lnTo>
                    <a:pt x="21798" y="75208"/>
                  </a:lnTo>
                  <a:lnTo>
                    <a:pt x="20248" y="74175"/>
                  </a:lnTo>
                  <a:lnTo>
                    <a:pt x="18699" y="73142"/>
                  </a:lnTo>
                  <a:lnTo>
                    <a:pt x="17252" y="72005"/>
                  </a:lnTo>
                  <a:lnTo>
                    <a:pt x="15806" y="70766"/>
                  </a:lnTo>
                  <a:lnTo>
                    <a:pt x="14463" y="69423"/>
                  </a:lnTo>
                  <a:lnTo>
                    <a:pt x="13223" y="68080"/>
                  </a:lnTo>
                  <a:lnTo>
                    <a:pt x="11984" y="66737"/>
                  </a:lnTo>
                  <a:lnTo>
                    <a:pt x="10847" y="65187"/>
                  </a:lnTo>
                  <a:lnTo>
                    <a:pt x="9711" y="63741"/>
                  </a:lnTo>
                  <a:lnTo>
                    <a:pt x="8678" y="62088"/>
                  </a:lnTo>
                  <a:lnTo>
                    <a:pt x="7748" y="60538"/>
                  </a:lnTo>
                  <a:lnTo>
                    <a:pt x="6922" y="58782"/>
                  </a:lnTo>
                  <a:lnTo>
                    <a:pt x="6198" y="57129"/>
                  </a:lnTo>
                  <a:lnTo>
                    <a:pt x="5475" y="55373"/>
                  </a:lnTo>
                  <a:lnTo>
                    <a:pt x="4855" y="53513"/>
                  </a:lnTo>
                  <a:lnTo>
                    <a:pt x="4339" y="51654"/>
                  </a:lnTo>
                  <a:lnTo>
                    <a:pt x="3926" y="49794"/>
                  </a:lnTo>
                  <a:lnTo>
                    <a:pt x="3512" y="47935"/>
                  </a:lnTo>
                  <a:lnTo>
                    <a:pt x="3306" y="45972"/>
                  </a:lnTo>
                  <a:lnTo>
                    <a:pt x="3099" y="44009"/>
                  </a:lnTo>
                  <a:lnTo>
                    <a:pt x="3099" y="42046"/>
                  </a:lnTo>
                  <a:lnTo>
                    <a:pt x="3099" y="39980"/>
                  </a:lnTo>
                  <a:lnTo>
                    <a:pt x="3306" y="38017"/>
                  </a:lnTo>
                  <a:lnTo>
                    <a:pt x="3512" y="36054"/>
                  </a:lnTo>
                  <a:lnTo>
                    <a:pt x="3926" y="34195"/>
                  </a:lnTo>
                  <a:lnTo>
                    <a:pt x="4339" y="32335"/>
                  </a:lnTo>
                  <a:lnTo>
                    <a:pt x="4855" y="30476"/>
                  </a:lnTo>
                  <a:lnTo>
                    <a:pt x="5475" y="28616"/>
                  </a:lnTo>
                  <a:lnTo>
                    <a:pt x="6198" y="26860"/>
                  </a:lnTo>
                  <a:lnTo>
                    <a:pt x="6922" y="25207"/>
                  </a:lnTo>
                  <a:lnTo>
                    <a:pt x="7748" y="23451"/>
                  </a:lnTo>
                  <a:lnTo>
                    <a:pt x="8678" y="21901"/>
                  </a:lnTo>
                  <a:lnTo>
                    <a:pt x="9711" y="20248"/>
                  </a:lnTo>
                  <a:lnTo>
                    <a:pt x="10847" y="18802"/>
                  </a:lnTo>
                  <a:lnTo>
                    <a:pt x="11984" y="17252"/>
                  </a:lnTo>
                  <a:lnTo>
                    <a:pt x="13223" y="15909"/>
                  </a:lnTo>
                  <a:lnTo>
                    <a:pt x="14463" y="14566"/>
                  </a:lnTo>
                  <a:lnTo>
                    <a:pt x="15806" y="13223"/>
                  </a:lnTo>
                  <a:lnTo>
                    <a:pt x="17252" y="11984"/>
                  </a:lnTo>
                  <a:lnTo>
                    <a:pt x="18699" y="10847"/>
                  </a:lnTo>
                  <a:lnTo>
                    <a:pt x="20248" y="9814"/>
                  </a:lnTo>
                  <a:lnTo>
                    <a:pt x="21798" y="8781"/>
                  </a:lnTo>
                  <a:lnTo>
                    <a:pt x="23451" y="7851"/>
                  </a:lnTo>
                  <a:lnTo>
                    <a:pt x="25104" y="7025"/>
                  </a:lnTo>
                  <a:lnTo>
                    <a:pt x="26860" y="6198"/>
                  </a:lnTo>
                  <a:lnTo>
                    <a:pt x="28616" y="5475"/>
                  </a:lnTo>
                  <a:lnTo>
                    <a:pt x="30373" y="4855"/>
                  </a:lnTo>
                  <a:lnTo>
                    <a:pt x="32232" y="4339"/>
                  </a:lnTo>
                  <a:lnTo>
                    <a:pt x="34092" y="3926"/>
                  </a:lnTo>
                  <a:lnTo>
                    <a:pt x="36055" y="3616"/>
                  </a:lnTo>
                  <a:lnTo>
                    <a:pt x="38017" y="3306"/>
                  </a:lnTo>
                  <a:lnTo>
                    <a:pt x="39980" y="3203"/>
                  </a:lnTo>
                  <a:lnTo>
                    <a:pt x="41943" y="3099"/>
                  </a:lnTo>
                  <a:close/>
                  <a:moveTo>
                    <a:pt x="41943" y="0"/>
                  </a:moveTo>
                  <a:lnTo>
                    <a:pt x="39774" y="103"/>
                  </a:lnTo>
                  <a:lnTo>
                    <a:pt x="37707" y="207"/>
                  </a:lnTo>
                  <a:lnTo>
                    <a:pt x="35538" y="517"/>
                  </a:lnTo>
                  <a:lnTo>
                    <a:pt x="33472" y="930"/>
                  </a:lnTo>
                  <a:lnTo>
                    <a:pt x="31509" y="1343"/>
                  </a:lnTo>
                  <a:lnTo>
                    <a:pt x="29443" y="1963"/>
                  </a:lnTo>
                  <a:lnTo>
                    <a:pt x="27583" y="2583"/>
                  </a:lnTo>
                  <a:lnTo>
                    <a:pt x="25620" y="3306"/>
                  </a:lnTo>
                  <a:lnTo>
                    <a:pt x="23761" y="4132"/>
                  </a:lnTo>
                  <a:lnTo>
                    <a:pt x="22005" y="5062"/>
                  </a:lnTo>
                  <a:lnTo>
                    <a:pt x="20248" y="6095"/>
                  </a:lnTo>
                  <a:lnTo>
                    <a:pt x="18492" y="7232"/>
                  </a:lnTo>
                  <a:lnTo>
                    <a:pt x="16839" y="8368"/>
                  </a:lnTo>
                  <a:lnTo>
                    <a:pt x="15290" y="9608"/>
                  </a:lnTo>
                  <a:lnTo>
                    <a:pt x="13740" y="10951"/>
                  </a:lnTo>
                  <a:lnTo>
                    <a:pt x="12294" y="12294"/>
                  </a:lnTo>
                  <a:lnTo>
                    <a:pt x="10847" y="13843"/>
                  </a:lnTo>
                  <a:lnTo>
                    <a:pt x="9608" y="15290"/>
                  </a:lnTo>
                  <a:lnTo>
                    <a:pt x="8368" y="16942"/>
                  </a:lnTo>
                  <a:lnTo>
                    <a:pt x="7128" y="18595"/>
                  </a:lnTo>
                  <a:lnTo>
                    <a:pt x="6095" y="20248"/>
                  </a:lnTo>
                  <a:lnTo>
                    <a:pt x="5062" y="22005"/>
                  </a:lnTo>
                  <a:lnTo>
                    <a:pt x="4132" y="23864"/>
                  </a:lnTo>
                  <a:lnTo>
                    <a:pt x="3306" y="25724"/>
                  </a:lnTo>
                  <a:lnTo>
                    <a:pt x="2583" y="27583"/>
                  </a:lnTo>
                  <a:lnTo>
                    <a:pt x="1860" y="29546"/>
                  </a:lnTo>
                  <a:lnTo>
                    <a:pt x="1343" y="31509"/>
                  </a:lnTo>
                  <a:lnTo>
                    <a:pt x="826" y="33575"/>
                  </a:lnTo>
                  <a:lnTo>
                    <a:pt x="517" y="35641"/>
                  </a:lnTo>
                  <a:lnTo>
                    <a:pt x="207" y="37707"/>
                  </a:lnTo>
                  <a:lnTo>
                    <a:pt x="0" y="39877"/>
                  </a:lnTo>
                  <a:lnTo>
                    <a:pt x="0" y="42046"/>
                  </a:lnTo>
                  <a:lnTo>
                    <a:pt x="0" y="44112"/>
                  </a:lnTo>
                  <a:lnTo>
                    <a:pt x="207" y="46282"/>
                  </a:lnTo>
                  <a:lnTo>
                    <a:pt x="517" y="48348"/>
                  </a:lnTo>
                  <a:lnTo>
                    <a:pt x="826" y="50414"/>
                  </a:lnTo>
                  <a:lnTo>
                    <a:pt x="1343" y="52480"/>
                  </a:lnTo>
                  <a:lnTo>
                    <a:pt x="1860" y="54443"/>
                  </a:lnTo>
                  <a:lnTo>
                    <a:pt x="2583" y="56406"/>
                  </a:lnTo>
                  <a:lnTo>
                    <a:pt x="3306" y="58369"/>
                  </a:lnTo>
                  <a:lnTo>
                    <a:pt x="4132" y="60228"/>
                  </a:lnTo>
                  <a:lnTo>
                    <a:pt x="5062" y="61985"/>
                  </a:lnTo>
                  <a:lnTo>
                    <a:pt x="6095" y="63741"/>
                  </a:lnTo>
                  <a:lnTo>
                    <a:pt x="7128" y="65497"/>
                  </a:lnTo>
                  <a:lnTo>
                    <a:pt x="8368" y="67047"/>
                  </a:lnTo>
                  <a:lnTo>
                    <a:pt x="9608" y="68699"/>
                  </a:lnTo>
                  <a:lnTo>
                    <a:pt x="10847" y="70249"/>
                  </a:lnTo>
                  <a:lnTo>
                    <a:pt x="12294" y="71695"/>
                  </a:lnTo>
                  <a:lnTo>
                    <a:pt x="13740" y="73038"/>
                  </a:lnTo>
                  <a:lnTo>
                    <a:pt x="15290" y="74381"/>
                  </a:lnTo>
                  <a:lnTo>
                    <a:pt x="16839" y="75621"/>
                  </a:lnTo>
                  <a:lnTo>
                    <a:pt x="18492" y="76757"/>
                  </a:lnTo>
                  <a:lnTo>
                    <a:pt x="20248" y="77894"/>
                  </a:lnTo>
                  <a:lnTo>
                    <a:pt x="22005" y="78927"/>
                  </a:lnTo>
                  <a:lnTo>
                    <a:pt x="23761" y="79857"/>
                  </a:lnTo>
                  <a:lnTo>
                    <a:pt x="25620" y="80683"/>
                  </a:lnTo>
                  <a:lnTo>
                    <a:pt x="27583" y="81406"/>
                  </a:lnTo>
                  <a:lnTo>
                    <a:pt x="29443" y="82026"/>
                  </a:lnTo>
                  <a:lnTo>
                    <a:pt x="31509" y="82646"/>
                  </a:lnTo>
                  <a:lnTo>
                    <a:pt x="33472" y="83163"/>
                  </a:lnTo>
                  <a:lnTo>
                    <a:pt x="35538" y="83472"/>
                  </a:lnTo>
                  <a:lnTo>
                    <a:pt x="37707" y="83782"/>
                  </a:lnTo>
                  <a:lnTo>
                    <a:pt x="39774" y="83886"/>
                  </a:lnTo>
                  <a:lnTo>
                    <a:pt x="41943" y="83989"/>
                  </a:lnTo>
                  <a:lnTo>
                    <a:pt x="44113" y="83886"/>
                  </a:lnTo>
                  <a:lnTo>
                    <a:pt x="46282" y="83782"/>
                  </a:lnTo>
                  <a:lnTo>
                    <a:pt x="48348" y="83472"/>
                  </a:lnTo>
                  <a:lnTo>
                    <a:pt x="50414" y="83163"/>
                  </a:lnTo>
                  <a:lnTo>
                    <a:pt x="52377" y="82646"/>
                  </a:lnTo>
                  <a:lnTo>
                    <a:pt x="54443" y="82026"/>
                  </a:lnTo>
                  <a:lnTo>
                    <a:pt x="56406" y="81406"/>
                  </a:lnTo>
                  <a:lnTo>
                    <a:pt x="58266" y="80683"/>
                  </a:lnTo>
                  <a:lnTo>
                    <a:pt x="60125" y="79857"/>
                  </a:lnTo>
                  <a:lnTo>
                    <a:pt x="61985" y="78927"/>
                  </a:lnTo>
                  <a:lnTo>
                    <a:pt x="63741" y="77894"/>
                  </a:lnTo>
                  <a:lnTo>
                    <a:pt x="65394" y="76757"/>
                  </a:lnTo>
                  <a:lnTo>
                    <a:pt x="67047" y="75621"/>
                  </a:lnTo>
                  <a:lnTo>
                    <a:pt x="68597" y="74381"/>
                  </a:lnTo>
                  <a:lnTo>
                    <a:pt x="70146" y="73038"/>
                  </a:lnTo>
                  <a:lnTo>
                    <a:pt x="71592" y="71695"/>
                  </a:lnTo>
                  <a:lnTo>
                    <a:pt x="73039" y="70249"/>
                  </a:lnTo>
                  <a:lnTo>
                    <a:pt x="74278" y="68699"/>
                  </a:lnTo>
                  <a:lnTo>
                    <a:pt x="75518" y="67047"/>
                  </a:lnTo>
                  <a:lnTo>
                    <a:pt x="76758" y="65497"/>
                  </a:lnTo>
                  <a:lnTo>
                    <a:pt x="77791" y="63741"/>
                  </a:lnTo>
                  <a:lnTo>
                    <a:pt x="78824" y="61985"/>
                  </a:lnTo>
                  <a:lnTo>
                    <a:pt x="79754" y="60228"/>
                  </a:lnTo>
                  <a:lnTo>
                    <a:pt x="80580" y="58369"/>
                  </a:lnTo>
                  <a:lnTo>
                    <a:pt x="81407" y="56406"/>
                  </a:lnTo>
                  <a:lnTo>
                    <a:pt x="82027" y="54443"/>
                  </a:lnTo>
                  <a:lnTo>
                    <a:pt x="82543" y="52480"/>
                  </a:lnTo>
                  <a:lnTo>
                    <a:pt x="83060" y="50414"/>
                  </a:lnTo>
                  <a:lnTo>
                    <a:pt x="83473" y="48348"/>
                  </a:lnTo>
                  <a:lnTo>
                    <a:pt x="83680" y="46282"/>
                  </a:lnTo>
                  <a:lnTo>
                    <a:pt x="83886" y="44112"/>
                  </a:lnTo>
                  <a:lnTo>
                    <a:pt x="83886" y="42046"/>
                  </a:lnTo>
                  <a:lnTo>
                    <a:pt x="83886" y="39877"/>
                  </a:lnTo>
                  <a:lnTo>
                    <a:pt x="83680" y="37707"/>
                  </a:lnTo>
                  <a:lnTo>
                    <a:pt x="83473" y="35641"/>
                  </a:lnTo>
                  <a:lnTo>
                    <a:pt x="83060" y="33575"/>
                  </a:lnTo>
                  <a:lnTo>
                    <a:pt x="82543" y="31509"/>
                  </a:lnTo>
                  <a:lnTo>
                    <a:pt x="82027" y="29546"/>
                  </a:lnTo>
                  <a:lnTo>
                    <a:pt x="81407" y="27583"/>
                  </a:lnTo>
                  <a:lnTo>
                    <a:pt x="80580" y="25724"/>
                  </a:lnTo>
                  <a:lnTo>
                    <a:pt x="79754" y="23864"/>
                  </a:lnTo>
                  <a:lnTo>
                    <a:pt x="78824" y="22005"/>
                  </a:lnTo>
                  <a:lnTo>
                    <a:pt x="77791" y="20248"/>
                  </a:lnTo>
                  <a:lnTo>
                    <a:pt x="76758" y="18595"/>
                  </a:lnTo>
                  <a:lnTo>
                    <a:pt x="75518" y="16942"/>
                  </a:lnTo>
                  <a:lnTo>
                    <a:pt x="74278" y="15290"/>
                  </a:lnTo>
                  <a:lnTo>
                    <a:pt x="73039" y="13843"/>
                  </a:lnTo>
                  <a:lnTo>
                    <a:pt x="71592" y="12294"/>
                  </a:lnTo>
                  <a:lnTo>
                    <a:pt x="70146" y="10951"/>
                  </a:lnTo>
                  <a:lnTo>
                    <a:pt x="68597" y="9608"/>
                  </a:lnTo>
                  <a:lnTo>
                    <a:pt x="67047" y="8368"/>
                  </a:lnTo>
                  <a:lnTo>
                    <a:pt x="65394" y="7232"/>
                  </a:lnTo>
                  <a:lnTo>
                    <a:pt x="63741" y="6095"/>
                  </a:lnTo>
                  <a:lnTo>
                    <a:pt x="61985" y="5062"/>
                  </a:lnTo>
                  <a:lnTo>
                    <a:pt x="60125" y="4132"/>
                  </a:lnTo>
                  <a:lnTo>
                    <a:pt x="58266" y="3306"/>
                  </a:lnTo>
                  <a:lnTo>
                    <a:pt x="56406" y="2583"/>
                  </a:lnTo>
                  <a:lnTo>
                    <a:pt x="54443" y="1963"/>
                  </a:lnTo>
                  <a:lnTo>
                    <a:pt x="52377" y="1343"/>
                  </a:lnTo>
                  <a:lnTo>
                    <a:pt x="50414" y="930"/>
                  </a:lnTo>
                  <a:lnTo>
                    <a:pt x="48348" y="517"/>
                  </a:lnTo>
                  <a:lnTo>
                    <a:pt x="46282" y="207"/>
                  </a:lnTo>
                  <a:lnTo>
                    <a:pt x="44113" y="103"/>
                  </a:lnTo>
                  <a:lnTo>
                    <a:pt x="41943" y="0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157;p16"/>
            <p:cNvSpPr/>
            <p:nvPr/>
          </p:nvSpPr>
          <p:spPr>
            <a:xfrm>
              <a:off x="426229" y="3487536"/>
              <a:ext cx="330077" cy="175057"/>
            </a:xfrm>
            <a:custGeom>
              <a:avLst/>
              <a:gdLst/>
              <a:ahLst/>
              <a:cxnLst/>
              <a:rect l="l" t="t" r="r" b="b"/>
              <a:pathLst>
                <a:path w="39155" h="20766" extrusionOk="0">
                  <a:moveTo>
                    <a:pt x="2067" y="1"/>
                  </a:moveTo>
                  <a:lnTo>
                    <a:pt x="1034" y="1137"/>
                  </a:lnTo>
                  <a:lnTo>
                    <a:pt x="1" y="2274"/>
                  </a:lnTo>
                  <a:lnTo>
                    <a:pt x="19526" y="20766"/>
                  </a:lnTo>
                  <a:lnTo>
                    <a:pt x="39154" y="2274"/>
                  </a:lnTo>
                  <a:lnTo>
                    <a:pt x="38121" y="1137"/>
                  </a:lnTo>
                  <a:lnTo>
                    <a:pt x="36985" y="1"/>
                  </a:lnTo>
                  <a:lnTo>
                    <a:pt x="35848" y="1137"/>
                  </a:lnTo>
                  <a:lnTo>
                    <a:pt x="19526" y="16427"/>
                  </a:lnTo>
                  <a:lnTo>
                    <a:pt x="3306" y="1137"/>
                  </a:lnTo>
                  <a:lnTo>
                    <a:pt x="2067" y="1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8" name="Google Shape;158;p16"/>
          <p:cNvSpPr txBox="1">
            <a:spLocks noGrp="1"/>
          </p:cNvSpPr>
          <p:nvPr>
            <p:ph type="title" idx="2"/>
          </p:nvPr>
        </p:nvSpPr>
        <p:spPr>
          <a:xfrm>
            <a:off x="371033" y="4005267"/>
            <a:ext cx="11448000" cy="17280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4000" tIns="0" rIns="0" bIns="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6"/>
          <p:cNvSpPr txBox="1">
            <a:spLocks noGrp="1"/>
          </p:cNvSpPr>
          <p:nvPr>
            <p:ph type="subTitle" idx="3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16"/>
          <p:cNvSpPr txBox="1">
            <a:spLocks noGrp="1"/>
          </p:cNvSpPr>
          <p:nvPr>
            <p:ph type="body" idx="4"/>
          </p:nvPr>
        </p:nvSpPr>
        <p:spPr>
          <a:xfrm>
            <a:off x="368000" y="1904484"/>
            <a:ext cx="3672000" cy="18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1" name="Google Shape;161;p16"/>
          <p:cNvSpPr txBox="1">
            <a:spLocks noGrp="1"/>
          </p:cNvSpPr>
          <p:nvPr>
            <p:ph type="body" idx="5"/>
          </p:nvPr>
        </p:nvSpPr>
        <p:spPr>
          <a:xfrm>
            <a:off x="4258133" y="1904233"/>
            <a:ext cx="3672000" cy="18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2" name="Google Shape;162;p16"/>
          <p:cNvSpPr txBox="1">
            <a:spLocks noGrp="1"/>
          </p:cNvSpPr>
          <p:nvPr>
            <p:ph type="body" idx="6"/>
          </p:nvPr>
        </p:nvSpPr>
        <p:spPr>
          <a:xfrm>
            <a:off x="8148267" y="1904233"/>
            <a:ext cx="3672000" cy="18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62229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0">
          <p15:clr>
            <a:srgbClr val="A4A3A4"/>
          </p15:clr>
        </p15:guide>
        <p15:guide id="2" pos="2012">
          <p15:clr>
            <a:srgbClr val="A4A3A4"/>
          </p15:clr>
        </p15:guide>
        <p15:guide id="3" pos="3748">
          <p15:clr>
            <a:srgbClr val="A4A3A4"/>
          </p15:clr>
        </p15:guide>
        <p15:guide id="4" pos="3850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 | Einspaltiger Text und Bild">
  <p:cSld name="17 | Einspaltiger Text und Bild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17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5256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17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6" name="Google Shape;166;p17"/>
          <p:cNvSpPr>
            <a:spLocks noGrp="1"/>
          </p:cNvSpPr>
          <p:nvPr>
            <p:ph type="pic" idx="2"/>
          </p:nvPr>
        </p:nvSpPr>
        <p:spPr>
          <a:xfrm>
            <a:off x="6096000" y="368667"/>
            <a:ext cx="5724000" cy="56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167" name="Google Shape;167;p17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8" name="Google Shape;168;p17"/>
          <p:cNvSpPr txBox="1">
            <a:spLocks noGrp="1"/>
          </p:cNvSpPr>
          <p:nvPr>
            <p:ph type="subTitle" idx="3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7"/>
          <p:cNvSpPr txBox="1">
            <a:spLocks noGrp="1"/>
          </p:cNvSpPr>
          <p:nvPr>
            <p:ph type="body" idx="4"/>
          </p:nvPr>
        </p:nvSpPr>
        <p:spPr>
          <a:xfrm>
            <a:off x="338300" y="1701300"/>
            <a:ext cx="45308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1648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pos="2370">
          <p15:clr>
            <a:srgbClr val="F26B43"/>
          </p15:clr>
        </p15:guide>
        <p15:guide id="3" orient="horz" pos="174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 | Einspaltiger Text und Bild V2">
  <p:cSld name="16 | Einspaltiger Text und Bild V2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8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5256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18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3" name="Google Shape;173;p18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4" name="Google Shape;174;p18"/>
          <p:cNvSpPr txBox="1">
            <a:spLocks noGrp="1"/>
          </p:cNvSpPr>
          <p:nvPr>
            <p:ph type="subTitle" idx="2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18"/>
          <p:cNvSpPr>
            <a:spLocks noGrp="1"/>
          </p:cNvSpPr>
          <p:nvPr>
            <p:ph type="pic" idx="3"/>
          </p:nvPr>
        </p:nvSpPr>
        <p:spPr>
          <a:xfrm>
            <a:off x="8137600" y="0"/>
            <a:ext cx="40544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176" name="Google Shape;176;p18"/>
          <p:cNvSpPr txBox="1">
            <a:spLocks noGrp="1"/>
          </p:cNvSpPr>
          <p:nvPr>
            <p:ph type="body" idx="4"/>
          </p:nvPr>
        </p:nvSpPr>
        <p:spPr>
          <a:xfrm>
            <a:off x="338300" y="1701300"/>
            <a:ext cx="68524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8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pos="2370">
          <p15:clr>
            <a:srgbClr val="F26B43"/>
          </p15:clr>
        </p15:guide>
        <p15:guide id="3" orient="horz" pos="174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 | Titel und Bild">
  <p:cSld name="18 | Titel und Bild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19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19"/>
          <p:cNvSpPr>
            <a:spLocks noGrp="1"/>
          </p:cNvSpPr>
          <p:nvPr>
            <p:ph type="pic" idx="2"/>
          </p:nvPr>
        </p:nvSpPr>
        <p:spPr>
          <a:xfrm>
            <a:off x="371367" y="1700233"/>
            <a:ext cx="11448000" cy="404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180" name="Google Shape;180;p19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1" name="Google Shape;181;p19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2" name="Google Shape;182;p19"/>
          <p:cNvSpPr txBox="1">
            <a:spLocks noGrp="1"/>
          </p:cNvSpPr>
          <p:nvPr>
            <p:ph type="subTitle" idx="3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19"/>
          <p:cNvSpPr/>
          <p:nvPr/>
        </p:nvSpPr>
        <p:spPr>
          <a:xfrm>
            <a:off x="7812167" y="584733"/>
            <a:ext cx="4007200" cy="684400"/>
          </a:xfrm>
          <a:prstGeom prst="rect">
            <a:avLst/>
          </a:prstGeom>
          <a:solidFill>
            <a:srgbClr val="303030">
              <a:alpha val="63919"/>
            </a:srgbClr>
          </a:solidFill>
          <a:ln>
            <a:noFill/>
          </a:ln>
        </p:spPr>
        <p:txBody>
          <a:bodyPr spcFirstLastPara="1" wrap="square" lIns="48000" tIns="48000" rIns="48000" bIns="4800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 b="1">
                <a:solidFill>
                  <a:schemeClr val="lt1"/>
                </a:solidFill>
              </a:rPr>
              <a:t>Hinweis: </a:t>
            </a:r>
            <a:endParaRPr sz="933" b="1">
              <a:solidFill>
                <a:schemeClr val="lt1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>
                <a:solidFill>
                  <a:schemeClr val="lt1"/>
                </a:solidFill>
              </a:rPr>
              <a:t>Weitere Bilder stehen im Brand Portal </a:t>
            </a:r>
            <a:r>
              <a:rPr lang="de" sz="933" u="sng">
                <a:solidFill>
                  <a:schemeClr val="hlink"/>
                </a:solidFill>
                <a:hlinkClick r:id="rId2"/>
              </a:rPr>
              <a:t>hier</a:t>
            </a:r>
            <a:r>
              <a:rPr lang="de" sz="933">
                <a:solidFill>
                  <a:schemeClr val="lt1"/>
                </a:solidFill>
              </a:rPr>
              <a:t> zum Download bereit.</a:t>
            </a:r>
            <a:endParaRPr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9758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 | Titel mit 2 Bildern und Bildunterschrift">
  <p:cSld name="19 | Titel mit 2 Bildern und Bildunterschrif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20"/>
          <p:cNvSpPr>
            <a:spLocks noGrp="1"/>
          </p:cNvSpPr>
          <p:nvPr>
            <p:ph type="pic" idx="2"/>
          </p:nvPr>
        </p:nvSpPr>
        <p:spPr>
          <a:xfrm>
            <a:off x="6204000" y="1700733"/>
            <a:ext cx="5616000" cy="36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186" name="Google Shape;186;p20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20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8" name="Google Shape;188;p20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9" name="Google Shape;189;p20"/>
          <p:cNvSpPr>
            <a:spLocks noGrp="1"/>
          </p:cNvSpPr>
          <p:nvPr>
            <p:ph type="pic" idx="3"/>
          </p:nvPr>
        </p:nvSpPr>
        <p:spPr>
          <a:xfrm>
            <a:off x="371367" y="1700233"/>
            <a:ext cx="5616000" cy="36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</p:sp>
      <p:sp>
        <p:nvSpPr>
          <p:cNvPr id="190" name="Google Shape;190;p20"/>
          <p:cNvSpPr txBox="1">
            <a:spLocks noGrp="1"/>
          </p:cNvSpPr>
          <p:nvPr>
            <p:ph type="title" idx="4"/>
          </p:nvPr>
        </p:nvSpPr>
        <p:spPr>
          <a:xfrm>
            <a:off x="371367" y="5347033"/>
            <a:ext cx="5616000" cy="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91" name="Google Shape;191;p20"/>
          <p:cNvSpPr txBox="1">
            <a:spLocks noGrp="1"/>
          </p:cNvSpPr>
          <p:nvPr>
            <p:ph type="title" idx="5"/>
          </p:nvPr>
        </p:nvSpPr>
        <p:spPr>
          <a:xfrm>
            <a:off x="6204000" y="5347033"/>
            <a:ext cx="5616000" cy="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92" name="Google Shape;192;p20"/>
          <p:cNvSpPr txBox="1">
            <a:spLocks noGrp="1"/>
          </p:cNvSpPr>
          <p:nvPr>
            <p:ph type="subTitle" idx="6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657864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 | Dreispaltiger Text mit Icons">
  <p:cSld name="20 | Dreispaltiger Text mit Icons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1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21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96" name="Google Shape;196;p21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97" name="Google Shape;197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696228" y="2712903"/>
            <a:ext cx="576000" cy="57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8" name="Google Shape;198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07796" y="2712903"/>
            <a:ext cx="576000" cy="57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9" name="Google Shape;199;p2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919364" y="2712903"/>
            <a:ext cx="576000" cy="576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0" name="Google Shape;200;p21"/>
          <p:cNvSpPr txBox="1">
            <a:spLocks noGrp="1"/>
          </p:cNvSpPr>
          <p:nvPr>
            <p:ph type="subTitle" idx="2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01" name="Google Shape;201;p21"/>
          <p:cNvSpPr/>
          <p:nvPr/>
        </p:nvSpPr>
        <p:spPr>
          <a:xfrm>
            <a:off x="7812167" y="512667"/>
            <a:ext cx="4007200" cy="684400"/>
          </a:xfrm>
          <a:prstGeom prst="rect">
            <a:avLst/>
          </a:prstGeom>
          <a:solidFill>
            <a:srgbClr val="303030">
              <a:alpha val="63919"/>
            </a:srgbClr>
          </a:solidFill>
          <a:ln>
            <a:noFill/>
          </a:ln>
        </p:spPr>
        <p:txBody>
          <a:bodyPr spcFirstLastPara="1" wrap="square" lIns="48000" tIns="48000" rIns="48000" bIns="4800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 b="1">
                <a:solidFill>
                  <a:schemeClr val="lt1"/>
                </a:solidFill>
              </a:rPr>
              <a:t>Hinweis: </a:t>
            </a:r>
            <a:endParaRPr sz="933" b="1">
              <a:solidFill>
                <a:schemeClr val="lt1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>
                <a:solidFill>
                  <a:schemeClr val="lt1"/>
                </a:solidFill>
              </a:rPr>
              <a:t>Die Icons können über </a:t>
            </a:r>
            <a:r>
              <a:rPr lang="de" sz="933" i="1">
                <a:solidFill>
                  <a:schemeClr val="lt1"/>
                </a:solidFill>
              </a:rPr>
              <a:t>Folie</a:t>
            </a:r>
            <a:r>
              <a:rPr lang="de" sz="933">
                <a:solidFill>
                  <a:schemeClr val="lt1"/>
                </a:solidFill>
              </a:rPr>
              <a:t> &gt; </a:t>
            </a:r>
            <a:r>
              <a:rPr lang="de" sz="933" i="1">
                <a:solidFill>
                  <a:schemeClr val="lt1"/>
                </a:solidFill>
              </a:rPr>
              <a:t>Design bearbeiten </a:t>
            </a:r>
            <a:r>
              <a:rPr lang="de" sz="933">
                <a:solidFill>
                  <a:schemeClr val="lt1"/>
                </a:solidFill>
              </a:rPr>
              <a:t>ausgetauscht werden. Weitere Icons stehen im Brand Portal </a:t>
            </a:r>
            <a:r>
              <a:rPr lang="de" sz="933" u="sng">
                <a:solidFill>
                  <a:schemeClr val="dk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er</a:t>
            </a:r>
            <a:r>
              <a:rPr lang="de" sz="933">
                <a:solidFill>
                  <a:schemeClr val="lt1"/>
                </a:solidFill>
              </a:rPr>
              <a:t> zum Download bereit.</a:t>
            </a:r>
            <a:endParaRPr sz="1067">
              <a:solidFill>
                <a:srgbClr val="FFFFFF"/>
              </a:solidFill>
            </a:endParaRPr>
          </a:p>
        </p:txBody>
      </p:sp>
      <p:sp>
        <p:nvSpPr>
          <p:cNvPr id="202" name="Google Shape;202;p21"/>
          <p:cNvSpPr txBox="1">
            <a:spLocks noGrp="1"/>
          </p:cNvSpPr>
          <p:nvPr>
            <p:ph type="title" idx="3"/>
          </p:nvPr>
        </p:nvSpPr>
        <p:spPr>
          <a:xfrm>
            <a:off x="747473" y="3540737"/>
            <a:ext cx="2921600" cy="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Font typeface="Arial"/>
              <a:buNone/>
              <a:defRPr sz="1600" b="1">
                <a:solidFill>
                  <a:srgbClr val="4B4B4B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9pPr>
          </a:lstStyle>
          <a:p>
            <a:endParaRPr/>
          </a:p>
        </p:txBody>
      </p:sp>
      <p:sp>
        <p:nvSpPr>
          <p:cNvPr id="203" name="Google Shape;203;p21"/>
          <p:cNvSpPr txBox="1">
            <a:spLocks noGrp="1"/>
          </p:cNvSpPr>
          <p:nvPr>
            <p:ph type="title" idx="4"/>
          </p:nvPr>
        </p:nvSpPr>
        <p:spPr>
          <a:xfrm>
            <a:off x="4549457" y="3532475"/>
            <a:ext cx="2921600" cy="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Font typeface="Arial"/>
              <a:buNone/>
              <a:defRPr sz="1600" b="1">
                <a:solidFill>
                  <a:srgbClr val="4B4B4B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9pPr>
          </a:lstStyle>
          <a:p>
            <a:endParaRPr/>
          </a:p>
        </p:txBody>
      </p:sp>
      <p:sp>
        <p:nvSpPr>
          <p:cNvPr id="204" name="Google Shape;204;p21"/>
          <p:cNvSpPr txBox="1">
            <a:spLocks noGrp="1"/>
          </p:cNvSpPr>
          <p:nvPr>
            <p:ph type="title" idx="5"/>
          </p:nvPr>
        </p:nvSpPr>
        <p:spPr>
          <a:xfrm>
            <a:off x="8319679" y="3532433"/>
            <a:ext cx="2921600" cy="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Font typeface="Arial"/>
              <a:buNone/>
              <a:defRPr sz="1600" b="1">
                <a:solidFill>
                  <a:srgbClr val="4B4B4B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ts val="1200"/>
              <a:buNone/>
              <a:defRPr sz="1600" b="1">
                <a:solidFill>
                  <a:srgbClr val="4B4B4B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66181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 | Einspaltiger Text und Beispiel Mockup 1">
  <p:cSld name="21 | Einspaltiger Text und Beispiel Mockup 1"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22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22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8" name="Google Shape;208;p22"/>
          <p:cNvSpPr>
            <a:spLocks noGrp="1"/>
          </p:cNvSpPr>
          <p:nvPr>
            <p:ph type="pic" idx="2"/>
          </p:nvPr>
        </p:nvSpPr>
        <p:spPr>
          <a:xfrm>
            <a:off x="6225540" y="2452881"/>
            <a:ext cx="4716800" cy="29528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pic>
        <p:nvPicPr>
          <p:cNvPr id="209" name="Google Shape;209;p22" descr="Ein Bild, das Text, Elektronik, Anzeige, Screenshot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331974" y="1895475"/>
            <a:ext cx="6495637" cy="4169245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p22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1" name="Google Shape;211;p22"/>
          <p:cNvSpPr txBox="1">
            <a:spLocks noGrp="1"/>
          </p:cNvSpPr>
          <p:nvPr>
            <p:ph type="subTitle" idx="3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22"/>
          <p:cNvSpPr txBox="1">
            <a:spLocks noGrp="1"/>
          </p:cNvSpPr>
          <p:nvPr>
            <p:ph type="body" idx="4"/>
          </p:nvPr>
        </p:nvSpPr>
        <p:spPr>
          <a:xfrm>
            <a:off x="338300" y="1701300"/>
            <a:ext cx="45308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9988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432757"/>
            <a:ext cx="5261212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1" y="4042344"/>
            <a:ext cx="5261212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9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5" name="Picture 4" descr="A person holding a computer&#10;&#10;Description automatically generated">
            <a:extLst>
              <a:ext uri="{FF2B5EF4-FFF2-40B4-BE49-F238E27FC236}">
                <a16:creationId xmlns:a16="http://schemas.microsoft.com/office/drawing/2014/main" id="{405343B6-FEB7-C4F6-EDF8-031CB1885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4349" y="889731"/>
            <a:ext cx="5261212" cy="5261212"/>
          </a:xfrm>
          <a:prstGeom prst="rect">
            <a:avLst/>
          </a:prstGeom>
        </p:spPr>
      </p:pic>
      <p:pic>
        <p:nvPicPr>
          <p:cNvPr id="4" name="Picture 3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26E78DF0-EA83-22B2-B728-8ACCF609001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24002" y="1159894"/>
            <a:ext cx="18197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1775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 | Titel und Tabelle">
  <p:cSld name="22 | Titel und Tabelle"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23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5" name="Google Shape;215;p23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6" name="Google Shape;216;p23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aphicFrame>
        <p:nvGraphicFramePr>
          <p:cNvPr id="217" name="Google Shape;217;p23"/>
          <p:cNvGraphicFramePr/>
          <p:nvPr/>
        </p:nvGraphicFramePr>
        <p:xfrm>
          <a:off x="371475" y="1700213"/>
          <a:ext cx="4000000" cy="400000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289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89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9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9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9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45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>
                        <a:solidFill>
                          <a:srgbClr val="646464"/>
                        </a:solidFill>
                      </a:endParaRPr>
                    </a:p>
                  </a:txBody>
                  <a:tcPr marL="96000" marR="96000" marT="96000" marB="96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>
                        <a:solidFill>
                          <a:srgbClr val="646464"/>
                        </a:solidFill>
                      </a:endParaRPr>
                    </a:p>
                  </a:txBody>
                  <a:tcPr marL="96000" marR="96000" marT="96000" marB="96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>
                        <a:solidFill>
                          <a:srgbClr val="646464"/>
                        </a:solidFill>
                      </a:endParaRPr>
                    </a:p>
                  </a:txBody>
                  <a:tcPr marL="96000" marR="96000" marT="96000" marB="96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>
                        <a:solidFill>
                          <a:srgbClr val="646464"/>
                        </a:solidFill>
                      </a:endParaRPr>
                    </a:p>
                  </a:txBody>
                  <a:tcPr marL="96000" marR="96000" marT="96000" marB="96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>
                        <a:solidFill>
                          <a:srgbClr val="646464"/>
                        </a:solidFill>
                      </a:endParaRPr>
                    </a:p>
                  </a:txBody>
                  <a:tcPr marL="96000" marR="96000" marT="96000" marB="96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5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646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5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45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rem ipsum 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5E5E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456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" sz="1100" b="1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otal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 b="1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11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34</a:t>
                      </a:r>
                      <a:endParaRPr sz="1100"/>
                    </a:p>
                  </a:txBody>
                  <a:tcPr marL="96000" marR="96000" marT="96000" marB="960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18" name="Google Shape;218;p23"/>
          <p:cNvSpPr txBox="1">
            <a:spLocks noGrp="1"/>
          </p:cNvSpPr>
          <p:nvPr>
            <p:ph type="subTitle" idx="2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3"/>
          <p:cNvSpPr/>
          <p:nvPr/>
        </p:nvSpPr>
        <p:spPr>
          <a:xfrm>
            <a:off x="7746233" y="308167"/>
            <a:ext cx="4074400" cy="1104400"/>
          </a:xfrm>
          <a:prstGeom prst="rect">
            <a:avLst/>
          </a:prstGeom>
          <a:solidFill>
            <a:srgbClr val="303030">
              <a:alpha val="63919"/>
            </a:srgbClr>
          </a:solidFill>
          <a:ln>
            <a:noFill/>
          </a:ln>
        </p:spPr>
        <p:txBody>
          <a:bodyPr spcFirstLastPara="1" wrap="square" lIns="48000" tIns="48000" rIns="48000" bIns="4800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 b="1">
                <a:solidFill>
                  <a:schemeClr val="lt1"/>
                </a:solidFill>
              </a:rPr>
              <a:t>Hinweis: </a:t>
            </a:r>
            <a:endParaRPr sz="933" b="1">
              <a:solidFill>
                <a:schemeClr val="lt1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>
                <a:solidFill>
                  <a:schemeClr val="lt1"/>
                </a:solidFill>
              </a:rPr>
              <a:t>Um die Tabelle zu bearbeiten, kopieren Sie diese bitte, indem Sie </a:t>
            </a:r>
            <a:r>
              <a:rPr lang="de" sz="933" i="1">
                <a:solidFill>
                  <a:schemeClr val="lt1"/>
                </a:solidFill>
              </a:rPr>
              <a:t>Folie</a:t>
            </a:r>
            <a:r>
              <a:rPr lang="de" sz="933">
                <a:solidFill>
                  <a:schemeClr val="lt1"/>
                </a:solidFill>
              </a:rPr>
              <a:t> &gt; </a:t>
            </a:r>
            <a:r>
              <a:rPr lang="de" sz="933" i="1">
                <a:solidFill>
                  <a:schemeClr val="lt1"/>
                </a:solidFill>
              </a:rPr>
              <a:t>Design bearbeiten</a:t>
            </a:r>
            <a:r>
              <a:rPr lang="de" sz="933">
                <a:solidFill>
                  <a:schemeClr val="lt1"/>
                </a:solidFill>
              </a:rPr>
              <a:t> &gt; auswählen. Fügen Sie die kopierte Tabelle dann auf einer leeren Folie ein, schließen Sie die Master Bearbeitungsansicht und nehmen Sie anschließend Ihre Bearbeitungen vor.</a:t>
            </a:r>
            <a:endParaRPr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576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 | Einspaltiger Text und Grafik">
  <p:cSld name="23 | Einspaltiger Text und Grafik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24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5256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24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23" name="Google Shape;223;p24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24" name="Google Shape;224;p24" title="Points scored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987367" y="1694567"/>
            <a:ext cx="5833268" cy="3606916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24"/>
          <p:cNvSpPr/>
          <p:nvPr/>
        </p:nvSpPr>
        <p:spPr>
          <a:xfrm>
            <a:off x="7121433" y="584733"/>
            <a:ext cx="4699200" cy="964800"/>
          </a:xfrm>
          <a:prstGeom prst="rect">
            <a:avLst/>
          </a:prstGeom>
          <a:solidFill>
            <a:srgbClr val="303030">
              <a:alpha val="63919"/>
            </a:srgbClr>
          </a:solidFill>
          <a:ln>
            <a:noFill/>
          </a:ln>
        </p:spPr>
        <p:txBody>
          <a:bodyPr spcFirstLastPara="1" wrap="square" lIns="48000" tIns="48000" rIns="48000" bIns="4800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 b="1">
                <a:solidFill>
                  <a:schemeClr val="lt1"/>
                </a:solidFill>
              </a:rPr>
              <a:t>Hinweis: </a:t>
            </a:r>
            <a:endParaRPr sz="933" b="1">
              <a:solidFill>
                <a:schemeClr val="lt1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>
                <a:solidFill>
                  <a:schemeClr val="lt1"/>
                </a:solidFill>
              </a:rPr>
              <a:t>Um die Grafik zu bearbeiten, kopieren Sie diese bitte, indem Sie </a:t>
            </a:r>
            <a:r>
              <a:rPr lang="de" sz="933" i="1">
                <a:solidFill>
                  <a:schemeClr val="lt1"/>
                </a:solidFill>
              </a:rPr>
              <a:t>Folie</a:t>
            </a:r>
            <a:r>
              <a:rPr lang="de" sz="933">
                <a:solidFill>
                  <a:schemeClr val="lt1"/>
                </a:solidFill>
              </a:rPr>
              <a:t> &gt; </a:t>
            </a:r>
            <a:r>
              <a:rPr lang="de" sz="933" i="1">
                <a:solidFill>
                  <a:schemeClr val="lt1"/>
                </a:solidFill>
              </a:rPr>
              <a:t>Design bearbeiten </a:t>
            </a:r>
            <a:r>
              <a:rPr lang="de" sz="933">
                <a:solidFill>
                  <a:schemeClr val="lt1"/>
                </a:solidFill>
              </a:rPr>
              <a:t>&gt; auswählen. Fügen Sie die kopierte Grafik dann auf einer leeren Folie ein, schließen Sie die Master Bearbeitungsansicht und nehmen Sie Ihre Bearbeitungen über eine Kopie des Quelldokuments vor. Die Call-out Grafiken sind optional.</a:t>
            </a:r>
            <a:endParaRPr sz="1067">
              <a:solidFill>
                <a:srgbClr val="FFFFFF"/>
              </a:solidFill>
            </a:endParaRPr>
          </a:p>
        </p:txBody>
      </p:sp>
      <p:sp>
        <p:nvSpPr>
          <p:cNvPr id="226" name="Google Shape;226;p24"/>
          <p:cNvSpPr txBox="1">
            <a:spLocks noGrp="1"/>
          </p:cNvSpPr>
          <p:nvPr>
            <p:ph type="subTitle" idx="2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27" name="Google Shape;227;p24"/>
          <p:cNvSpPr txBox="1">
            <a:spLocks noGrp="1"/>
          </p:cNvSpPr>
          <p:nvPr>
            <p:ph type="body" idx="3"/>
          </p:nvPr>
        </p:nvSpPr>
        <p:spPr>
          <a:xfrm>
            <a:off x="338300" y="1701300"/>
            <a:ext cx="4644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marR="0" lvl="0" indent="-304792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97923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97923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97923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8" name="Google Shape;228;p24"/>
          <p:cNvSpPr/>
          <p:nvPr/>
        </p:nvSpPr>
        <p:spPr>
          <a:xfrm>
            <a:off x="8562567" y="3652951"/>
            <a:ext cx="860400" cy="292000"/>
          </a:xfrm>
          <a:prstGeom prst="wedgeRoundRectCallout">
            <a:avLst>
              <a:gd name="adj1" fmla="val -19753"/>
              <a:gd name="adj2" fmla="val 89042"/>
              <a:gd name="adj3" fmla="val 0"/>
            </a:avLst>
          </a:prstGeom>
          <a:solidFill>
            <a:srgbClr val="CECEC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667" b="1">
                <a:solidFill>
                  <a:srgbClr val="4B4B4B"/>
                </a:solidFill>
              </a:rPr>
              <a:t>Lorem ipsum</a:t>
            </a:r>
            <a:endParaRPr sz="1067" b="1">
              <a:solidFill>
                <a:srgbClr val="4B4B4B"/>
              </a:solidFill>
            </a:endParaRPr>
          </a:p>
        </p:txBody>
      </p:sp>
      <p:sp>
        <p:nvSpPr>
          <p:cNvPr id="229" name="Google Shape;229;p24"/>
          <p:cNvSpPr/>
          <p:nvPr/>
        </p:nvSpPr>
        <p:spPr>
          <a:xfrm>
            <a:off x="9527967" y="2578319"/>
            <a:ext cx="860400" cy="292000"/>
          </a:xfrm>
          <a:prstGeom prst="wedgeRoundRectCallout">
            <a:avLst>
              <a:gd name="adj1" fmla="val -19753"/>
              <a:gd name="adj2" fmla="val 89042"/>
              <a:gd name="adj3" fmla="val 0"/>
            </a:avLst>
          </a:prstGeom>
          <a:solidFill>
            <a:srgbClr val="F8F5F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667" b="1">
                <a:solidFill>
                  <a:srgbClr val="4B4B4B"/>
                </a:solidFill>
              </a:rPr>
              <a:t>Lorem ipsum</a:t>
            </a:r>
            <a:endParaRPr sz="1067" b="1">
              <a:solidFill>
                <a:srgbClr val="4B4B4B"/>
              </a:solidFill>
            </a:endParaRPr>
          </a:p>
        </p:txBody>
      </p:sp>
      <p:sp>
        <p:nvSpPr>
          <p:cNvPr id="230" name="Google Shape;230;p24"/>
          <p:cNvSpPr/>
          <p:nvPr/>
        </p:nvSpPr>
        <p:spPr>
          <a:xfrm>
            <a:off x="10513400" y="2136817"/>
            <a:ext cx="860400" cy="292000"/>
          </a:xfrm>
          <a:prstGeom prst="wedgeRoundRectCallout">
            <a:avLst>
              <a:gd name="adj1" fmla="val -19753"/>
              <a:gd name="adj2" fmla="val 89042"/>
              <a:gd name="adj3" fmla="val 0"/>
            </a:avLst>
          </a:prstGeom>
          <a:noFill/>
          <a:ln w="9525" cap="flat" cmpd="sng">
            <a:solidFill>
              <a:srgbClr val="910F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667" b="1">
                <a:solidFill>
                  <a:srgbClr val="4B4B4B"/>
                </a:solidFill>
              </a:rPr>
              <a:t>Lorem ipsum</a:t>
            </a:r>
            <a:endParaRPr sz="1067" b="1">
              <a:solidFill>
                <a:srgbClr val="4B4B4B"/>
              </a:solidFill>
            </a:endParaRPr>
          </a:p>
        </p:txBody>
      </p:sp>
      <p:sp>
        <p:nvSpPr>
          <p:cNvPr id="231" name="Google Shape;231;p24"/>
          <p:cNvSpPr/>
          <p:nvPr/>
        </p:nvSpPr>
        <p:spPr>
          <a:xfrm rot="5400000">
            <a:off x="7409800" y="1782133"/>
            <a:ext cx="178000" cy="1884400"/>
          </a:xfrm>
          <a:prstGeom prst="leftBrace">
            <a:avLst>
              <a:gd name="adj1" fmla="val 50000"/>
              <a:gd name="adj2" fmla="val 50000"/>
            </a:avLst>
          </a:prstGeom>
          <a:noFill/>
          <a:ln w="9525" cap="flat" cmpd="sng">
            <a:solidFill>
              <a:srgbClr val="64646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32" name="Google Shape;232;p24"/>
          <p:cNvSpPr txBox="1"/>
          <p:nvPr/>
        </p:nvSpPr>
        <p:spPr>
          <a:xfrm>
            <a:off x="5492112" y="2319467"/>
            <a:ext cx="4000000" cy="348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667" b="1">
                <a:solidFill>
                  <a:srgbClr val="4B4B4B"/>
                </a:solidFill>
              </a:rPr>
              <a:t>Lorem ipsum</a:t>
            </a:r>
            <a:endParaRPr sz="240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833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pos="2370">
          <p15:clr>
            <a:srgbClr val="F26B43"/>
          </p15:clr>
        </p15:guide>
        <p15:guide id="3" orient="horz" pos="174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 | Timeline">
  <p:cSld name="24 | Timeline"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5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35" name="Google Shape;235;p25"/>
          <p:cNvSpPr txBox="1">
            <a:spLocks noGrp="1"/>
          </p:cNvSpPr>
          <p:nvPr>
            <p:ph type="ftr" idx="11"/>
          </p:nvPr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5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7" name="Google Shape;237;p25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38" name="Google Shape;238;p25"/>
          <p:cNvCxnSpPr/>
          <p:nvPr/>
        </p:nvCxnSpPr>
        <p:spPr>
          <a:xfrm>
            <a:off x="6108700" y="3429000"/>
            <a:ext cx="5710800" cy="0"/>
          </a:xfrm>
          <a:prstGeom prst="straightConnector1">
            <a:avLst/>
          </a:prstGeom>
          <a:noFill/>
          <a:ln w="952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9" name="Google Shape;239;p25"/>
          <p:cNvSpPr/>
          <p:nvPr/>
        </p:nvSpPr>
        <p:spPr>
          <a:xfrm>
            <a:off x="802991" y="3645024"/>
            <a:ext cx="1440000" cy="5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 b="1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olor sit amet</a:t>
            </a:r>
            <a:endParaRPr sz="1467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sectetuer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0" name="Google Shape;240;p25"/>
          <p:cNvSpPr/>
          <p:nvPr/>
        </p:nvSpPr>
        <p:spPr>
          <a:xfrm>
            <a:off x="2327135" y="3645024"/>
            <a:ext cx="1440000" cy="5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 b="1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olor sit amet</a:t>
            </a:r>
            <a:endParaRPr sz="1467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sectetuer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1" name="Google Shape;241;p25"/>
          <p:cNvSpPr/>
          <p:nvPr/>
        </p:nvSpPr>
        <p:spPr>
          <a:xfrm>
            <a:off x="3851277" y="3645024"/>
            <a:ext cx="1440000" cy="5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 b="1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olor sit amet</a:t>
            </a:r>
            <a:endParaRPr sz="1467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sectetuer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2" name="Google Shape;242;p25"/>
          <p:cNvSpPr/>
          <p:nvPr/>
        </p:nvSpPr>
        <p:spPr>
          <a:xfrm>
            <a:off x="5375420" y="3645024"/>
            <a:ext cx="1440000" cy="5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 b="1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olor sit amet</a:t>
            </a:r>
            <a:endParaRPr sz="1467" u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sectetuer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3" name="Google Shape;243;p25"/>
          <p:cNvSpPr/>
          <p:nvPr/>
        </p:nvSpPr>
        <p:spPr>
          <a:xfrm>
            <a:off x="6899563" y="3645024"/>
            <a:ext cx="1440000" cy="5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 b="1" u="none" strike="noStrike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dolor sit amet</a:t>
            </a:r>
            <a:endParaRPr sz="1467" u="none" strike="noStrike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consectetuer</a:t>
            </a:r>
            <a:endParaRPr sz="1467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4" name="Google Shape;244;p25"/>
          <p:cNvSpPr/>
          <p:nvPr/>
        </p:nvSpPr>
        <p:spPr>
          <a:xfrm>
            <a:off x="8423707" y="3645024"/>
            <a:ext cx="1440000" cy="5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 b="1" u="none" strike="noStrike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dolor sit amet</a:t>
            </a:r>
            <a:endParaRPr sz="1467" u="none" strike="noStrike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consectetuer</a:t>
            </a:r>
            <a:endParaRPr sz="1467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5" name="Google Shape;245;p25"/>
          <p:cNvSpPr/>
          <p:nvPr/>
        </p:nvSpPr>
        <p:spPr>
          <a:xfrm>
            <a:off x="9947847" y="3645024"/>
            <a:ext cx="1440000" cy="5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 b="1" u="none" strike="noStrike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dolor sit amet</a:t>
            </a:r>
            <a:endParaRPr sz="1467" u="none" strike="noStrike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consectetuer</a:t>
            </a:r>
            <a:endParaRPr sz="1467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46" name="Google Shape;246;p25"/>
          <p:cNvCxnSpPr/>
          <p:nvPr/>
        </p:nvCxnSpPr>
        <p:spPr>
          <a:xfrm>
            <a:off x="371475" y="3429000"/>
            <a:ext cx="5634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7" name="Google Shape;247;p25"/>
          <p:cNvSpPr/>
          <p:nvPr/>
        </p:nvSpPr>
        <p:spPr>
          <a:xfrm>
            <a:off x="1433019" y="3339027"/>
            <a:ext cx="180000" cy="180000"/>
          </a:xfrm>
          <a:prstGeom prst="diamond">
            <a:avLst/>
          </a:prstGeom>
          <a:solidFill>
            <a:schemeClr val="dk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25"/>
          <p:cNvSpPr/>
          <p:nvPr/>
        </p:nvSpPr>
        <p:spPr>
          <a:xfrm>
            <a:off x="2957161" y="3339027"/>
            <a:ext cx="180000" cy="180000"/>
          </a:xfrm>
          <a:prstGeom prst="diamond">
            <a:avLst/>
          </a:prstGeom>
          <a:solidFill>
            <a:schemeClr val="dk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9" name="Google Shape;249;p25"/>
          <p:cNvSpPr/>
          <p:nvPr/>
        </p:nvSpPr>
        <p:spPr>
          <a:xfrm>
            <a:off x="4481304" y="3339027"/>
            <a:ext cx="180000" cy="180000"/>
          </a:xfrm>
          <a:prstGeom prst="diamond">
            <a:avLst/>
          </a:prstGeom>
          <a:solidFill>
            <a:schemeClr val="dk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0" name="Google Shape;250;p25"/>
          <p:cNvSpPr/>
          <p:nvPr/>
        </p:nvSpPr>
        <p:spPr>
          <a:xfrm>
            <a:off x="6005447" y="3339027"/>
            <a:ext cx="180000" cy="180000"/>
          </a:xfrm>
          <a:prstGeom prst="diamond">
            <a:avLst/>
          </a:prstGeom>
          <a:solidFill>
            <a:schemeClr val="dk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1" name="Google Shape;251;p25"/>
          <p:cNvSpPr/>
          <p:nvPr/>
        </p:nvSpPr>
        <p:spPr>
          <a:xfrm>
            <a:off x="7529591" y="3339027"/>
            <a:ext cx="180000" cy="180000"/>
          </a:xfrm>
          <a:prstGeom prst="diamond">
            <a:avLst/>
          </a:prstGeom>
          <a:solidFill>
            <a:schemeClr val="accent4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2" name="Google Shape;252;p25"/>
          <p:cNvSpPr/>
          <p:nvPr/>
        </p:nvSpPr>
        <p:spPr>
          <a:xfrm>
            <a:off x="9053732" y="3339027"/>
            <a:ext cx="180000" cy="180000"/>
          </a:xfrm>
          <a:prstGeom prst="diamond">
            <a:avLst/>
          </a:prstGeom>
          <a:solidFill>
            <a:schemeClr val="accent4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3" name="Google Shape;253;p25"/>
          <p:cNvSpPr/>
          <p:nvPr/>
        </p:nvSpPr>
        <p:spPr>
          <a:xfrm>
            <a:off x="10577875" y="3339027"/>
            <a:ext cx="180000" cy="180000"/>
          </a:xfrm>
          <a:prstGeom prst="diamond">
            <a:avLst/>
          </a:prstGeom>
          <a:solidFill>
            <a:schemeClr val="accent4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4" name="Google Shape;254;p25"/>
          <p:cNvSpPr/>
          <p:nvPr/>
        </p:nvSpPr>
        <p:spPr>
          <a:xfrm>
            <a:off x="802991" y="2996832"/>
            <a:ext cx="144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>
                <a:solidFill>
                  <a:schemeClr val="dk1"/>
                </a:solidFill>
              </a:rPr>
              <a:t>C</a:t>
            </a: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 29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5" name="Google Shape;255;p25"/>
          <p:cNvSpPr/>
          <p:nvPr/>
        </p:nvSpPr>
        <p:spPr>
          <a:xfrm>
            <a:off x="2327135" y="2996832"/>
            <a:ext cx="144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>
                <a:solidFill>
                  <a:schemeClr val="dk1"/>
                </a:solidFill>
              </a:rPr>
              <a:t>C</a:t>
            </a: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 29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6" name="Google Shape;256;p25"/>
          <p:cNvSpPr/>
          <p:nvPr/>
        </p:nvSpPr>
        <p:spPr>
          <a:xfrm>
            <a:off x="3851277" y="2996832"/>
            <a:ext cx="144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>
                <a:solidFill>
                  <a:schemeClr val="dk1"/>
                </a:solidFill>
              </a:rPr>
              <a:t>C</a:t>
            </a: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 29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7" name="Google Shape;257;p25"/>
          <p:cNvSpPr/>
          <p:nvPr/>
        </p:nvSpPr>
        <p:spPr>
          <a:xfrm>
            <a:off x="5375420" y="2996832"/>
            <a:ext cx="144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>
                <a:solidFill>
                  <a:schemeClr val="dk1"/>
                </a:solidFill>
              </a:rPr>
              <a:t>C</a:t>
            </a:r>
            <a:r>
              <a:rPr lang="de" sz="1467" b="1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 29</a:t>
            </a:r>
            <a:endParaRPr sz="14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8" name="Google Shape;258;p25"/>
          <p:cNvSpPr/>
          <p:nvPr/>
        </p:nvSpPr>
        <p:spPr>
          <a:xfrm>
            <a:off x="6899563" y="2996832"/>
            <a:ext cx="144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>
                <a:solidFill>
                  <a:schemeClr val="accent5"/>
                </a:solidFill>
              </a:rPr>
              <a:t>C</a:t>
            </a:r>
            <a:r>
              <a:rPr lang="de" sz="1467" b="1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W 29</a:t>
            </a:r>
            <a:endParaRPr sz="1467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9" name="Google Shape;259;p25"/>
          <p:cNvSpPr/>
          <p:nvPr/>
        </p:nvSpPr>
        <p:spPr>
          <a:xfrm>
            <a:off x="8423707" y="2996832"/>
            <a:ext cx="144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>
                <a:solidFill>
                  <a:schemeClr val="accent5"/>
                </a:solidFill>
              </a:rPr>
              <a:t>C</a:t>
            </a:r>
            <a:r>
              <a:rPr lang="de" sz="1467" b="1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W 29</a:t>
            </a:r>
            <a:endParaRPr sz="1467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0" name="Google Shape;260;p25"/>
          <p:cNvSpPr/>
          <p:nvPr/>
        </p:nvSpPr>
        <p:spPr>
          <a:xfrm>
            <a:off x="9947847" y="2996832"/>
            <a:ext cx="144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467" b="1">
                <a:solidFill>
                  <a:schemeClr val="accent5"/>
                </a:solidFill>
              </a:rPr>
              <a:t>C</a:t>
            </a:r>
            <a:r>
              <a:rPr lang="de" sz="1467" b="1" u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W 29</a:t>
            </a:r>
            <a:endParaRPr sz="1467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1" name="Google Shape;261;p25"/>
          <p:cNvSpPr/>
          <p:nvPr/>
        </p:nvSpPr>
        <p:spPr>
          <a:xfrm>
            <a:off x="7746233" y="308167"/>
            <a:ext cx="4074400" cy="1104400"/>
          </a:xfrm>
          <a:prstGeom prst="rect">
            <a:avLst/>
          </a:prstGeom>
          <a:solidFill>
            <a:srgbClr val="303030">
              <a:alpha val="63919"/>
            </a:srgbClr>
          </a:solidFill>
          <a:ln>
            <a:noFill/>
          </a:ln>
        </p:spPr>
        <p:txBody>
          <a:bodyPr spcFirstLastPara="1" wrap="square" lIns="48000" tIns="48000" rIns="48000" bIns="4800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 b="1">
                <a:solidFill>
                  <a:schemeClr val="lt1"/>
                </a:solidFill>
              </a:rPr>
              <a:t>Hinweis: </a:t>
            </a:r>
            <a:endParaRPr sz="933" b="1">
              <a:solidFill>
                <a:schemeClr val="lt1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>
                <a:solidFill>
                  <a:schemeClr val="lt1"/>
                </a:solidFill>
              </a:rPr>
              <a:t>Um die Timeline zu bearbeiten, kopieren Sie diese bitte, indem Sie </a:t>
            </a:r>
            <a:r>
              <a:rPr lang="de" sz="933" i="1">
                <a:solidFill>
                  <a:schemeClr val="lt1"/>
                </a:solidFill>
              </a:rPr>
              <a:t>Folie</a:t>
            </a:r>
            <a:r>
              <a:rPr lang="de" sz="933">
                <a:solidFill>
                  <a:schemeClr val="lt1"/>
                </a:solidFill>
              </a:rPr>
              <a:t> &gt; </a:t>
            </a:r>
            <a:r>
              <a:rPr lang="de" sz="933" i="1">
                <a:solidFill>
                  <a:schemeClr val="lt1"/>
                </a:solidFill>
              </a:rPr>
              <a:t>Design bearbeiten</a:t>
            </a:r>
            <a:r>
              <a:rPr lang="de" sz="933">
                <a:solidFill>
                  <a:schemeClr val="lt1"/>
                </a:solidFill>
              </a:rPr>
              <a:t> &gt; auswählen. Fügen Sie die kopierte Timeline dann auf einer leeren Folie ein, schließen Sie die Master Bearbeitungsansicht und nehmen Sie anschließend Ihre Bearbeitungen vor.</a:t>
            </a:r>
            <a:endParaRPr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6315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 | Timeline V2">
  <p:cSld name="25 | Timeline V2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64" name="Google Shape;264;p26"/>
          <p:cNvSpPr txBox="1">
            <a:spLocks noGrp="1"/>
          </p:cNvSpPr>
          <p:nvPr>
            <p:ph type="ftr" idx="11"/>
          </p:nvPr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65" name="Google Shape;265;p26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66" name="Google Shape;266;p26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aphicFrame>
        <p:nvGraphicFramePr>
          <p:cNvPr id="267" name="Google Shape;267;p26"/>
          <p:cNvGraphicFramePr/>
          <p:nvPr/>
        </p:nvGraphicFramePr>
        <p:xfrm>
          <a:off x="371475" y="1700213"/>
          <a:ext cx="4000000" cy="400000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40300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065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>
                          <a:solidFill>
                            <a:schemeClr val="dk1"/>
                          </a:solidFill>
                        </a:rPr>
                        <a:t>YEAR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1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2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3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4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5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6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7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8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9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0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1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3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4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5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6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7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8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9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1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2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3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4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5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6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7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8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9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30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03030"/>
                        </a:buClr>
                        <a:buSzPts val="800"/>
                        <a:buFont typeface="Arial"/>
                        <a:buNone/>
                      </a:pPr>
                      <a:r>
                        <a:rPr lang="de" sz="11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31</a:t>
                      </a:r>
                      <a:endParaRPr sz="1500">
                        <a:solidFill>
                          <a:schemeClr val="dk1"/>
                        </a:solidFill>
                      </a:endParaRPr>
                    </a:p>
                  </a:txBody>
                  <a:tcPr marL="54000" marR="54000" marT="72000" marB="7200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>
                          <a:solidFill>
                            <a:srgbClr val="646464"/>
                          </a:solidFill>
                        </a:rPr>
                        <a:t>January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ebruary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>
                          <a:solidFill>
                            <a:srgbClr val="646464"/>
                          </a:solidFill>
                        </a:rPr>
                        <a:t>March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ril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Ma</a:t>
                      </a:r>
                      <a:r>
                        <a:rPr lang="de" sz="900">
                          <a:solidFill>
                            <a:srgbClr val="646464"/>
                          </a:solidFill>
                        </a:rPr>
                        <a:t>y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Jun</a:t>
                      </a:r>
                      <a:r>
                        <a:rPr lang="de" sz="900">
                          <a:solidFill>
                            <a:srgbClr val="646464"/>
                          </a:solidFill>
                        </a:rPr>
                        <a:t>e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Jul</a:t>
                      </a:r>
                      <a:r>
                        <a:rPr lang="de" sz="900">
                          <a:solidFill>
                            <a:srgbClr val="646464"/>
                          </a:solidFill>
                        </a:rPr>
                        <a:t>y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gust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ptember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</a:t>
                      </a:r>
                      <a:r>
                        <a:rPr lang="de" sz="900">
                          <a:solidFill>
                            <a:srgbClr val="646464"/>
                          </a:solidFill>
                        </a:rPr>
                        <a:t>c</a:t>
                      </a: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ober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vember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5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646464"/>
                        </a:buClr>
                        <a:buSzPts val="800"/>
                        <a:buFont typeface="Arial"/>
                        <a:buNone/>
                      </a:pP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</a:t>
                      </a:r>
                      <a:r>
                        <a:rPr lang="de" sz="900">
                          <a:solidFill>
                            <a:srgbClr val="646464"/>
                          </a:solidFill>
                        </a:rPr>
                        <a:t>c</a:t>
                      </a:r>
                      <a:r>
                        <a:rPr lang="de" sz="900" b="0" i="0" u="none" strike="noStrike" cap="none">
                          <a:solidFill>
                            <a:srgbClr val="646464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mber</a:t>
                      </a:r>
                      <a:endParaRPr sz="900"/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b="0" i="0" u="none" strike="noStrike" cap="none">
                        <a:solidFill>
                          <a:srgbClr val="646464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54000" marT="76800" marB="768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68" name="Google Shape;268;p26"/>
          <p:cNvSpPr/>
          <p:nvPr/>
        </p:nvSpPr>
        <p:spPr>
          <a:xfrm>
            <a:off x="1271464" y="2060848"/>
            <a:ext cx="6768800" cy="216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/>
          </a:p>
        </p:txBody>
      </p:sp>
      <p:sp>
        <p:nvSpPr>
          <p:cNvPr id="269" name="Google Shape;269;p26"/>
          <p:cNvSpPr/>
          <p:nvPr/>
        </p:nvSpPr>
        <p:spPr>
          <a:xfrm>
            <a:off x="5438736" y="3825024"/>
            <a:ext cx="4680400" cy="216000"/>
          </a:xfrm>
          <a:prstGeom prst="rect">
            <a:avLst/>
          </a:prstGeom>
          <a:solidFill>
            <a:srgbClr val="910F05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/>
          </a:p>
        </p:txBody>
      </p:sp>
      <p:sp>
        <p:nvSpPr>
          <p:cNvPr id="270" name="Google Shape;270;p26"/>
          <p:cNvSpPr/>
          <p:nvPr/>
        </p:nvSpPr>
        <p:spPr>
          <a:xfrm>
            <a:off x="1715253" y="5006960"/>
            <a:ext cx="43204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rem Ipsum</a:t>
            </a:r>
            <a:endParaRPr sz="1467"/>
          </a:p>
        </p:txBody>
      </p:sp>
      <p:sp>
        <p:nvSpPr>
          <p:cNvPr id="271" name="Google Shape;271;p26"/>
          <p:cNvSpPr/>
          <p:nvPr/>
        </p:nvSpPr>
        <p:spPr>
          <a:xfrm>
            <a:off x="7746233" y="308167"/>
            <a:ext cx="4074400" cy="1104400"/>
          </a:xfrm>
          <a:prstGeom prst="rect">
            <a:avLst/>
          </a:prstGeom>
          <a:solidFill>
            <a:srgbClr val="303030">
              <a:alpha val="63919"/>
            </a:srgbClr>
          </a:solidFill>
          <a:ln>
            <a:noFill/>
          </a:ln>
        </p:spPr>
        <p:txBody>
          <a:bodyPr spcFirstLastPara="1" wrap="square" lIns="48000" tIns="48000" rIns="48000" bIns="4800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 b="1">
                <a:solidFill>
                  <a:schemeClr val="lt1"/>
                </a:solidFill>
              </a:rPr>
              <a:t>Hinweis: </a:t>
            </a:r>
            <a:endParaRPr sz="933" b="1">
              <a:solidFill>
                <a:schemeClr val="lt1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sz="933">
                <a:solidFill>
                  <a:schemeClr val="lt1"/>
                </a:solidFill>
              </a:rPr>
              <a:t>Um die Timeline zu bearbeiten, kopieren Sie diese bitte, indem Sie </a:t>
            </a:r>
            <a:r>
              <a:rPr lang="de" sz="933" i="1">
                <a:solidFill>
                  <a:schemeClr val="lt1"/>
                </a:solidFill>
              </a:rPr>
              <a:t>Folie</a:t>
            </a:r>
            <a:r>
              <a:rPr lang="de" sz="933">
                <a:solidFill>
                  <a:schemeClr val="lt1"/>
                </a:solidFill>
              </a:rPr>
              <a:t> &gt; </a:t>
            </a:r>
            <a:r>
              <a:rPr lang="de" sz="933" i="1">
                <a:solidFill>
                  <a:schemeClr val="lt1"/>
                </a:solidFill>
              </a:rPr>
              <a:t>Design bearbeiten</a:t>
            </a:r>
            <a:r>
              <a:rPr lang="de" sz="933">
                <a:solidFill>
                  <a:schemeClr val="lt1"/>
                </a:solidFill>
              </a:rPr>
              <a:t> &gt; auswählen. Fügen Sie die kopierte Timeline dann auf einer leeren Folie ein, schließen Sie die Master Bearbeitungsansicht und nehmen Sie anschließend Ihre Bearbeitungen vor.</a:t>
            </a:r>
            <a:endParaRPr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3833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 | Nur Titel und Fußzeile">
  <p:cSld name="26 | Nur Titel und Fußzeile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5" name="Google Shape;275;p27"/>
          <p:cNvSpPr txBox="1">
            <a:spLocks noGrp="1"/>
          </p:cNvSpPr>
          <p:nvPr>
            <p:ph type="body" idx="1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6" name="Google Shape;276;p27"/>
          <p:cNvSpPr txBox="1">
            <a:spLocks noGrp="1"/>
          </p:cNvSpPr>
          <p:nvPr>
            <p:ph type="subTitle" idx="2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020862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 | Leer">
  <p:cSld name="27 | Leer"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28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9" name="Google Shape;279;p28"/>
          <p:cNvSpPr txBox="1">
            <a:spLocks noGrp="1"/>
          </p:cNvSpPr>
          <p:nvPr>
            <p:ph type="subTitle" idx="1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</p:spPr>
        <p:txBody>
          <a:bodyPr spcFirstLastPara="1" wrap="square" lIns="5400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"/>
              <a:buNone/>
              <a:defRPr sz="800" b="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8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800"/>
              </a:spcBef>
              <a:spcAft>
                <a:spcPts val="80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470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 | Back Cover - nur Text">
  <p:cSld name="28 | Back Cover - nur Text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2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8F5F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29"/>
          <p:cNvSpPr txBox="1">
            <a:spLocks noGrp="1"/>
          </p:cNvSpPr>
          <p:nvPr>
            <p:ph type="title"/>
          </p:nvPr>
        </p:nvSpPr>
        <p:spPr>
          <a:xfrm>
            <a:off x="2315580" y="2456892"/>
            <a:ext cx="7560800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Georgia"/>
              <a:buNone/>
              <a:defRPr sz="4667"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 sz="46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203734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 | Back Cover - Villa">
  <p:cSld name="27 | Back Cover - Villa"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p30"/>
          <p:cNvSpPr txBox="1">
            <a:spLocks noGrp="1"/>
          </p:cNvSpPr>
          <p:nvPr>
            <p:ph type="body" idx="1"/>
          </p:nvPr>
        </p:nvSpPr>
        <p:spPr>
          <a:xfrm>
            <a:off x="3287688" y="368660"/>
            <a:ext cx="56168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1200" b="0"/>
            </a:lvl1pPr>
            <a:lvl2pPr marL="1219170" lvl="1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3pPr>
            <a:lvl4pPr marL="2438339" lvl="3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4pPr>
            <a:lvl5pPr marL="3047924" lvl="4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5pPr>
            <a:lvl6pPr marL="3657509" lvl="5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6pPr>
            <a:lvl7pPr marL="4267093" lvl="6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7pPr>
            <a:lvl8pPr marL="4876678" lvl="7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8pPr>
            <a:lvl9pPr marL="5486263" lvl="8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9pPr>
          </a:lstStyle>
          <a:p>
            <a:endParaRPr/>
          </a:p>
        </p:txBody>
      </p:sp>
      <p:sp>
        <p:nvSpPr>
          <p:cNvPr id="286" name="Google Shape;286;p30"/>
          <p:cNvSpPr txBox="1">
            <a:spLocks noGrp="1"/>
          </p:cNvSpPr>
          <p:nvPr>
            <p:ph type="title"/>
          </p:nvPr>
        </p:nvSpPr>
        <p:spPr>
          <a:xfrm>
            <a:off x="2315580" y="2456892"/>
            <a:ext cx="7560800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Georgia"/>
              <a:buNone/>
              <a:defRPr sz="4667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287" name="Google Shape;287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052000" y="5658449"/>
            <a:ext cx="2087997" cy="8668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7292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ntent">
  <p:cSld name="One content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31"/>
          <p:cNvSpPr txBox="1">
            <a:spLocks noGrp="1"/>
          </p:cNvSpPr>
          <p:nvPr>
            <p:ph type="body" idx="1"/>
          </p:nvPr>
        </p:nvSpPr>
        <p:spPr>
          <a:xfrm>
            <a:off x="371364" y="1700808"/>
            <a:ext cx="11448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609585" lvl="0" indent="-304792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/>
            </a:lvl1pPr>
            <a:lvl2pPr marL="1219170" lvl="1" indent="-380990" algn="l" rtl="0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900"/>
              <a:buChar char="⬥"/>
              <a:defRPr/>
            </a:lvl2pPr>
            <a:lvl3pPr marL="1828754" lvl="2" indent="-38099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SzPts val="900"/>
              <a:buChar char="﹣"/>
              <a:defRPr/>
            </a:lvl3pPr>
            <a:lvl4pPr marL="2438339" lvl="3" indent="-38099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900"/>
              <a:buChar char="﹣"/>
              <a:defRPr/>
            </a:lvl4pPr>
            <a:lvl5pPr marL="3047924" lvl="4" indent="-38099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900"/>
              <a:buChar char="﹣"/>
              <a:defRPr/>
            </a:lvl5pPr>
            <a:lvl6pPr marL="3657509" lvl="5" indent="-38099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900"/>
              <a:buChar char="﹣"/>
              <a:defRPr/>
            </a:lvl6pPr>
            <a:lvl7pPr marL="4267093" lvl="6" indent="-38099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900"/>
              <a:buChar char="﹣"/>
              <a:defRPr/>
            </a:lvl7pPr>
            <a:lvl8pPr marL="4876678" lvl="7" indent="-38099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900"/>
              <a:buChar char="﹣"/>
              <a:defRPr/>
            </a:lvl8pPr>
            <a:lvl9pPr marL="5486263" lvl="8" indent="-380990" algn="l" rtl="0">
              <a:lnSpc>
                <a:spcPct val="114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900"/>
              <a:buChar char="﹣"/>
              <a:defRPr/>
            </a:lvl9pPr>
          </a:lstStyle>
          <a:p>
            <a:endParaRPr/>
          </a:p>
        </p:txBody>
      </p:sp>
      <p:sp>
        <p:nvSpPr>
          <p:cNvPr id="290" name="Google Shape;290;p31"/>
          <p:cNvSpPr txBox="1">
            <a:spLocks noGrp="1"/>
          </p:cNvSpPr>
          <p:nvPr>
            <p:ph type="ftr" idx="11"/>
          </p:nvPr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91" name="Google Shape;291;p31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2" name="Google Shape;292;p31"/>
          <p:cNvSpPr txBox="1">
            <a:spLocks noGrp="1"/>
          </p:cNvSpPr>
          <p:nvPr>
            <p:ph type="body" idx="2"/>
          </p:nvPr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lvl="5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7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3" name="Google Shape;293;p31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52896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| Titelvariante - nur Titel">
  <p:cSld name="1 | Titelvariante - nur Titel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9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50" tIns="45600" rIns="91250" bIns="45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97"/>
              <a:buFont typeface="Arial"/>
              <a:buNone/>
            </a:pPr>
            <a:endParaRPr sz="1597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96"/>
          <p:cNvSpPr txBox="1">
            <a:spLocks noGrp="1"/>
          </p:cNvSpPr>
          <p:nvPr>
            <p:ph type="ctrTitle"/>
          </p:nvPr>
        </p:nvSpPr>
        <p:spPr>
          <a:xfrm>
            <a:off x="1344000" y="2836263"/>
            <a:ext cx="9504000" cy="15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Font typeface="Georgia"/>
              <a:buNone/>
              <a:defRPr sz="4657" b="0" i="0"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 sz="4657"/>
            </a:lvl9pPr>
          </a:lstStyle>
          <a:p>
            <a:endParaRPr/>
          </a:p>
        </p:txBody>
      </p:sp>
      <p:sp>
        <p:nvSpPr>
          <p:cNvPr id="64" name="Google Shape;64;p96"/>
          <p:cNvSpPr txBox="1">
            <a:spLocks noGrp="1"/>
          </p:cNvSpPr>
          <p:nvPr>
            <p:ph type="subTitle" idx="1"/>
          </p:nvPr>
        </p:nvSpPr>
        <p:spPr>
          <a:xfrm>
            <a:off x="2316001" y="2152187"/>
            <a:ext cx="756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None/>
              <a:defRPr sz="1198" b="0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65" name="Google Shape;65;p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28002" y="368659"/>
            <a:ext cx="2735999" cy="294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p96"/>
          <p:cNvPicPr preferRelativeResize="0"/>
          <p:nvPr/>
        </p:nvPicPr>
        <p:blipFill rotWithShape="1">
          <a:blip r:embed="rId3">
            <a:alphaModFix/>
          </a:blip>
          <a:srcRect b="438"/>
          <a:stretch/>
        </p:blipFill>
        <p:spPr>
          <a:xfrm>
            <a:off x="0" y="4945118"/>
            <a:ext cx="12191997" cy="19128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03392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0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432757"/>
            <a:ext cx="59436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4243318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9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11" name="Picture 10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44ED4259-492A-532F-45C0-BEEB0243F5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4002" y="1159894"/>
            <a:ext cx="1819701" cy="609600"/>
          </a:xfrm>
          <a:prstGeom prst="rect">
            <a:avLst/>
          </a:prstGeom>
        </p:spPr>
      </p:pic>
      <p:pic>
        <p:nvPicPr>
          <p:cNvPr id="6" name="Picture 5" descr="A person sitting at a desk with a computer&#10;&#10;Description automatically generated with low confidence">
            <a:extLst>
              <a:ext uri="{FF2B5EF4-FFF2-40B4-BE49-F238E27FC236}">
                <a16:creationId xmlns:a16="http://schemas.microsoft.com/office/drawing/2014/main" id="{EC12FAC9-091A-A1FE-857A-E3185A69880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67318" y="600502"/>
            <a:ext cx="5943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4000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 | Einspaltiger Text">
  <p:cSld name="12 | Einspaltiger Text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98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9" name="Google Shape;69;p98"/>
          <p:cNvSpPr txBox="1">
            <a:spLocks noGrp="1"/>
          </p:cNvSpPr>
          <p:nvPr>
            <p:ph type="body" idx="1"/>
          </p:nvPr>
        </p:nvSpPr>
        <p:spPr>
          <a:xfrm>
            <a:off x="371365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None/>
              <a:defRPr sz="1065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98"/>
          <p:cNvSpPr txBox="1">
            <a:spLocks noGrp="1"/>
          </p:cNvSpPr>
          <p:nvPr>
            <p:ph type="title"/>
          </p:nvPr>
        </p:nvSpPr>
        <p:spPr>
          <a:xfrm>
            <a:off x="371365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98"/>
          <p:cNvSpPr txBox="1">
            <a:spLocks noGrp="1"/>
          </p:cNvSpPr>
          <p:nvPr>
            <p:ph type="subTitle" idx="2"/>
          </p:nvPr>
        </p:nvSpPr>
        <p:spPr>
          <a:xfrm>
            <a:off x="6239433" y="6435333"/>
            <a:ext cx="5365200" cy="1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b" anchorCtr="0">
            <a:noAutofit/>
          </a:bodyPr>
          <a:lstStyle>
            <a:lvl1pPr lvl="0" algn="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600"/>
              <a:buNone/>
              <a:defRPr sz="798" b="0"/>
            </a:lvl1pPr>
            <a:lvl2pPr lvl="1" algn="l">
              <a:lnSpc>
                <a:spcPct val="114000"/>
              </a:lnSpc>
              <a:spcBef>
                <a:spcPts val="1597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14000"/>
              </a:lnSpc>
              <a:spcBef>
                <a:spcPts val="798"/>
              </a:spcBef>
              <a:spcAft>
                <a:spcPts val="798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98"/>
          <p:cNvSpPr txBox="1">
            <a:spLocks noGrp="1"/>
          </p:cNvSpPr>
          <p:nvPr>
            <p:ph type="body" idx="3"/>
          </p:nvPr>
        </p:nvSpPr>
        <p:spPr>
          <a:xfrm>
            <a:off x="371367" y="1701300"/>
            <a:ext cx="11448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457200" marR="0" lvl="0" indent="-2286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4000"/>
              </a:lnSpc>
              <a:spcBef>
                <a:spcPts val="1597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>
              <a:lnSpc>
                <a:spcPct val="114000"/>
              </a:lnSpc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>
              <a:lnSpc>
                <a:spcPct val="114000"/>
              </a:lnSpc>
              <a:spcBef>
                <a:spcPts val="798"/>
              </a:spcBef>
              <a:spcAft>
                <a:spcPts val="798"/>
              </a:spcAft>
              <a:buClr>
                <a:schemeClr val="dk1"/>
              </a:buClr>
              <a:buSzPts val="1100"/>
              <a:buFont typeface="Noto Sans Symbols"/>
              <a:buChar char="﹣"/>
              <a:def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42145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99"/>
          <p:cNvSpPr txBox="1">
            <a:spLocks noGrp="1"/>
          </p:cNvSpPr>
          <p:nvPr>
            <p:ph type="title"/>
          </p:nvPr>
        </p:nvSpPr>
        <p:spPr>
          <a:xfrm>
            <a:off x="371365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99"/>
          <p:cNvSpPr txBox="1">
            <a:spLocks noGrp="1"/>
          </p:cNvSpPr>
          <p:nvPr>
            <p:ph type="body" idx="1"/>
          </p:nvPr>
        </p:nvSpPr>
        <p:spPr>
          <a:xfrm>
            <a:off x="371365" y="1701296"/>
            <a:ext cx="11448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457200" lvl="0" indent="-2286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marL="914400" lvl="1" indent="-298450" algn="l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SzPts val="1100"/>
              <a:buChar char="⬥"/>
              <a:defRPr/>
            </a:lvl2pPr>
            <a:lvl3pPr marL="1371600" lvl="2" indent="-2984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100"/>
              <a:buChar char="﹣"/>
              <a:defRPr/>
            </a:lvl3pPr>
            <a:lvl4pPr marL="1828800" lvl="3" indent="-2984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100"/>
              <a:buChar char="﹣"/>
              <a:defRPr/>
            </a:lvl4pPr>
            <a:lvl5pPr marL="2286000" lvl="4" indent="-2984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100"/>
              <a:buChar char="﹣"/>
              <a:defRPr/>
            </a:lvl5pPr>
            <a:lvl6pPr marL="2743200" lvl="5" indent="-2984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100"/>
              <a:buChar char="﹣"/>
              <a:defRPr/>
            </a:lvl6pPr>
            <a:lvl7pPr marL="3200400" lvl="6" indent="-2984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100"/>
              <a:buChar char="﹣"/>
              <a:defRPr/>
            </a:lvl7pPr>
            <a:lvl8pPr marL="3657600" lvl="7" indent="-2984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100"/>
              <a:buChar char="﹣"/>
              <a:defRPr/>
            </a:lvl8pPr>
            <a:lvl9pPr marL="4114800" lvl="8" indent="-298450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SzPts val="1100"/>
              <a:buChar char="﹣"/>
              <a:defRPr/>
            </a:lvl9pPr>
          </a:lstStyle>
          <a:p>
            <a:endParaRPr/>
          </a:p>
        </p:txBody>
      </p:sp>
      <p:sp>
        <p:nvSpPr>
          <p:cNvPr id="76" name="Google Shape;76;p99"/>
          <p:cNvSpPr txBox="1">
            <a:spLocks noGrp="1"/>
          </p:cNvSpPr>
          <p:nvPr>
            <p:ph type="ftr" idx="11"/>
          </p:nvPr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99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8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8501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4_Custom Layout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99"/>
          <p:cNvSpPr txBox="1">
            <a:spLocks noGrp="1"/>
          </p:cNvSpPr>
          <p:nvPr>
            <p:ph type="subTitle" idx="1"/>
          </p:nvPr>
        </p:nvSpPr>
        <p:spPr>
          <a:xfrm>
            <a:off x="578931" y="477493"/>
            <a:ext cx="7547741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rgbClr val="4B4B4B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" name="Google Shape;89;p99"/>
          <p:cNvSpPr txBox="1">
            <a:spLocks noGrp="1"/>
          </p:cNvSpPr>
          <p:nvPr>
            <p:ph type="title"/>
          </p:nvPr>
        </p:nvSpPr>
        <p:spPr>
          <a:xfrm>
            <a:off x="578930" y="665250"/>
            <a:ext cx="11035679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36000" bIns="360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rgbClr val="303030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1" name="Google Shape;91;p99"/>
          <p:cNvSpPr txBox="1">
            <a:spLocks noGrp="1"/>
          </p:cNvSpPr>
          <p:nvPr>
            <p:ph type="body" idx="2"/>
          </p:nvPr>
        </p:nvSpPr>
        <p:spPr>
          <a:xfrm>
            <a:off x="578931" y="1881189"/>
            <a:ext cx="11037557" cy="4140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noAutofit/>
          </a:bodyPr>
          <a:lstStyle>
            <a:lvl1pPr marL="457200" marR="0" lvl="0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Noto Sans Symbols"/>
              <a:buChar char="−"/>
              <a:defRPr sz="12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Courier New"/>
              <a:buChar char="o"/>
              <a:defRPr sz="12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" name="Google Shape;92;p99"/>
          <p:cNvSpPr txBox="1">
            <a:spLocks noGrp="1"/>
          </p:cNvSpPr>
          <p:nvPr>
            <p:ph type="sldNum" idx="12"/>
          </p:nvPr>
        </p:nvSpPr>
        <p:spPr>
          <a:xfrm>
            <a:off x="11400065" y="6386781"/>
            <a:ext cx="216423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3" name="Google Shape;93;p99"/>
          <p:cNvSpPr/>
          <p:nvPr/>
        </p:nvSpPr>
        <p:spPr>
          <a:xfrm>
            <a:off x="9551204" y="6386782"/>
            <a:ext cx="18035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900" b="0" i="0" u="none" strike="noStrike" cap="none">
              <a:solidFill>
                <a:srgbClr val="646464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20176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97F6A2-CAEC-2F38-FBD4-7FC640C883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8342CC-4F63-0CBB-0F3C-13F37CA523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3A121F5-A05A-11E7-E14F-7C7F13917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0797CC-E62D-74A9-95A6-78553F719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49FE12-0133-C75D-DE30-0F1464F50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16506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1C550C-ECEC-70A7-F073-733D20F78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750CC9-AB03-0308-F2C5-86732A5D58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9ECAF1-8E66-6615-E5D0-6039B241D5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991F3C-47EF-5DC8-898F-9F3413D82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64AF65-E86A-8C7D-FD6A-5DA01A703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1300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714972-299C-714A-3A63-D49AF87CA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B52EE9-EB23-1BCB-A64D-B5F0997E0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B04212D-EBB5-9E49-C174-9FC08AE62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214FB0-B90F-8E2F-FB5B-813C6E116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BA66FB-8EB9-B018-1995-1F153F9C1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33346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26B87-C698-D8FF-BF11-730B65159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C426B39-066B-592D-7578-9258213268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D7A8E40-361E-D7E7-EF91-20D34A861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7F6E4A8-A5B1-FA67-836C-44B2FFB28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EF4CEF-3F1C-B88C-C527-436A8DEFF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1778097-67DD-CAE0-9EBD-2A1048E6C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39601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2C74F0-8AC5-11DD-50AB-CFCF91ADF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0420EE-6FA1-D738-1BAC-FAA6DC98F3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70A935-0339-424A-7DB5-9EF22C67EA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350B53E-498F-4BEC-DA9E-270E4DF6B2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573DBED-BB2C-8926-887D-269B13E15E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FFBDC4D-874B-0607-C190-89A965100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D29C307-82D2-1FB2-3B89-FEF61E400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E5E1DD-F807-B167-642A-9D248A4D1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5833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C021D9-76A5-CB7F-46F6-1D4FD2A7F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F67F233-2B3B-85A6-27D7-9E0B0A4FC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040A8F-CA20-7A7B-2B11-61616EBF1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A4FB1C-3B95-F5D2-F31A-10BAAECE1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95354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D5B5410-70C8-95EC-45E9-A4784E662F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D1A9940-1D6F-E852-06BA-F77371B780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02E020-8150-30E5-9D72-8877BED42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51429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A61E7D-DED7-75A1-C273-B1B9E6ABCB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139064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5954F9-E09B-3360-0756-10D8FE8041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4587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262454-21F4-E7B3-DB95-10102C05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6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7E667FB-07A3-E900-D717-81471DEAE1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9629" y="6124796"/>
            <a:ext cx="1586035" cy="462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700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01BC00-E739-88C2-FCD4-A5BAE579E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92E745-4006-096A-009A-DF32D0CE03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FD6D5F-0037-354C-0590-16924A8A65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925FC02-807B-9A78-777C-2A52E155D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59FDEB4-1EE9-D033-F07B-2C2317695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EF2DFB0-5551-FE50-507A-52775599B0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1799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69A50E-02CE-753D-FAB4-9AA810A66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286876-0F2B-AA93-A51B-89C80250A6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43AB999-BFA0-86AB-7FA0-841682EB78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A88B56B-5B4A-604F-443D-8E44142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1B682F2-4D69-B3F3-11AF-78ABAB395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1A2AC63-507D-CAC5-0DAE-425DEF711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41134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AF6A75-526B-FAB8-64CF-7D67CA19D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DC6431E-4F7A-9D71-4EBE-6CA0B30339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39B185A-108C-35D0-65EC-37935F651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ECEA1F9-38D6-F1A9-9B02-D853B9C5D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ECDF69-89B4-5C4A-0BD4-CBE61AB86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2949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3A5EE50-1A9D-6432-1B20-D272FC42A6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7E69754-C53F-E9F2-10E9-30330FF033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59F6889-2AB5-F613-BC28-2BBE139D8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FCFCBB3-2E3D-A79F-8530-F8CDE0D6E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BEB72C-39C2-ED08-7A9C-9A9142C2A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1924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5BA6A0-02A1-4632-CBC3-9C65AD5F8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AE0512-B087-9D8C-E802-BA07AC28AF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40AFD09B-4CEF-4A7E-AF7B-2EEA099D4AD7}" type="slidenum">
              <a:rPr lang="en-FI" smtClean="0"/>
              <a:pPr algn="ctr"/>
              <a:t>‹#›</a:t>
            </a:fld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C6118-A23A-BC43-3B4D-7DDA7C3CA77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FI" sz="1050"/>
          </a:p>
        </p:txBody>
      </p:sp>
      <p:pic>
        <p:nvPicPr>
          <p:cNvPr id="6" name="Picture 5" descr="A black background with a circle&#10;&#10;Description automatically generated">
            <a:extLst>
              <a:ext uri="{FF2B5EF4-FFF2-40B4-BE49-F238E27FC236}">
                <a16:creationId xmlns:a16="http://schemas.microsoft.com/office/drawing/2014/main" id="{9F70BDC7-16A3-A61D-CA20-D87E440BBB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94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32757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3738496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32757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16" name="Picture 15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9D9137DF-4CE4-B8A2-30CC-3B52C95996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4001" y="1159894"/>
            <a:ext cx="1819701" cy="609600"/>
          </a:xfrm>
          <a:prstGeom prst="rect">
            <a:avLst/>
          </a:prstGeom>
        </p:spPr>
      </p:pic>
      <p:pic>
        <p:nvPicPr>
          <p:cNvPr id="5" name="Picture 4" descr="A black background with yellow dots&#10;&#10;Description automatically generated">
            <a:extLst>
              <a:ext uri="{FF2B5EF4-FFF2-40B4-BE49-F238E27FC236}">
                <a16:creationId xmlns:a16="http://schemas.microsoft.com/office/drawing/2014/main" id="{B30D62E6-76D9-9BD7-007B-699B56555FC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656"/>
            <a:ext cx="12192000" cy="677468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4547DB4-4D60-0D51-FE05-1ED361AC2EA3}"/>
              </a:ext>
            </a:extLst>
          </p:cNvPr>
          <p:cNvSpPr txBox="1">
            <a:spLocks/>
          </p:cNvSpPr>
          <p:nvPr userDrawn="1"/>
        </p:nvSpPr>
        <p:spPr>
          <a:xfrm>
            <a:off x="2773824" y="1717344"/>
            <a:ext cx="7085287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  <a:ea typeface="+mj-ea"/>
                <a:cs typeface="Arial Bold" panose="020B0704020202020204" pitchFamily="34" charset="0"/>
              </a:defRPr>
            </a:lvl1pPr>
          </a:lstStyle>
          <a:p>
            <a:r>
              <a:rPr lang="en-GB" sz="4400"/>
              <a:t>Click to edit Master title style</a:t>
            </a:r>
            <a:endParaRPr lang="en-FI" sz="440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2CF3D1-D2A2-A55A-FFB2-AEEA04637320}"/>
              </a:ext>
            </a:extLst>
          </p:cNvPr>
          <p:cNvSpPr txBox="1">
            <a:spLocks/>
          </p:cNvSpPr>
          <p:nvPr userDrawn="1"/>
        </p:nvSpPr>
        <p:spPr>
          <a:xfrm>
            <a:off x="2773823" y="4326931"/>
            <a:ext cx="6733592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Tx/>
              <a:buNone/>
              <a:defRPr sz="2400" kern="1200">
                <a:solidFill>
                  <a:schemeClr val="bg1"/>
                </a:solidFill>
                <a:latin typeface="Montserrat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tabLst>
                <a:tab pos="542925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906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/>
              <a:t>Subtitle</a:t>
            </a:r>
            <a:endParaRPr lang="en-FI" sz="2400"/>
          </a:p>
        </p:txBody>
      </p:sp>
    </p:spTree>
    <p:extLst>
      <p:ext uri="{BB962C8B-B14F-4D97-AF65-F5344CB8AC3E}">
        <p14:creationId xmlns:p14="http://schemas.microsoft.com/office/powerpoint/2010/main" val="17482576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432757"/>
            <a:ext cx="5409063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1" y="4042344"/>
            <a:ext cx="540906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5" name="Picture 4" descr="A picture containing glasses, coffee cup, goggles, circle&#10;&#10;Description automatically generated">
            <a:extLst>
              <a:ext uri="{FF2B5EF4-FFF2-40B4-BE49-F238E27FC236}">
                <a16:creationId xmlns:a16="http://schemas.microsoft.com/office/drawing/2014/main" id="{C26A73C7-1706-2784-2B2A-C2DB18E6AE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19166" y="785883"/>
            <a:ext cx="5177050" cy="517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592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32757"/>
            <a:ext cx="5141792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5141792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7" name="Picture 6" descr="A picture containing computer, computer, design&#10;&#10;Description automatically generated">
            <a:extLst>
              <a:ext uri="{FF2B5EF4-FFF2-40B4-BE49-F238E27FC236}">
                <a16:creationId xmlns:a16="http://schemas.microsoft.com/office/drawing/2014/main" id="{68EB9399-A0D8-6D13-B22D-F834411F01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31509" y="858104"/>
            <a:ext cx="5141792" cy="514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8512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32757"/>
            <a:ext cx="5261212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5261212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5" name="Picture 4" descr="A person holding a computer&#10;&#10;Description automatically generated">
            <a:extLst>
              <a:ext uri="{FF2B5EF4-FFF2-40B4-BE49-F238E27FC236}">
                <a16:creationId xmlns:a16="http://schemas.microsoft.com/office/drawing/2014/main" id="{405343B6-FEB7-C4F6-EDF8-031CB1885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4349" y="889731"/>
            <a:ext cx="5261212" cy="526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548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A61E7D-DED7-75A1-C273-B1B9E6ABCB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139064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5954F9-E09B-3360-0756-10D8FE8041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4587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262454-21F4-E7B3-DB95-10102C05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6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7E667FB-07A3-E900-D717-81471DEAE1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17073" y="6124796"/>
            <a:ext cx="1586035" cy="462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45908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0_Title Slid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60ED-F010-48BE-B133-A1DAA5286B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432757"/>
            <a:ext cx="59436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023C5-5EE1-9A51-3376-6E7F3562FA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42344"/>
            <a:ext cx="4243318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Montserrat" pitchFamily="2" charset="77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FI"/>
          </a:p>
        </p:txBody>
      </p:sp>
      <p:pic>
        <p:nvPicPr>
          <p:cNvPr id="6" name="Picture 5" descr="A person sitting at a desk with a computer&#10;&#10;Description automatically generated with low confidence">
            <a:extLst>
              <a:ext uri="{FF2B5EF4-FFF2-40B4-BE49-F238E27FC236}">
                <a16:creationId xmlns:a16="http://schemas.microsoft.com/office/drawing/2014/main" id="{EC12FAC9-091A-A1FE-857A-E3185A6988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67318" y="600502"/>
            <a:ext cx="5943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9513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A61E7D-DED7-75A1-C273-B1B9E6ABCB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139064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5954F9-E09B-3360-0756-10D8FE8041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4587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262454-21F4-E7B3-DB95-10102C05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5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8196497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A61E7D-DED7-75A1-C273-B1B9E6ABCB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139064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5954F9-E09B-3360-0756-10D8FE8041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4587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262454-21F4-E7B3-DB95-10102C05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5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9341932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A61E7D-DED7-75A1-C273-B1B9E6ABCB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139064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5954F9-E09B-3360-0756-10D8FE8041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4587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 marL="0"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262454-21F4-E7B3-DB95-10102C05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5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302968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A61E7D-DED7-75A1-C273-B1B9E6ABCB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139064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5954F9-E09B-3360-0756-10D8FE8041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4587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262454-21F4-E7B3-DB95-10102C05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5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0194422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white, design&#10;&#10;Description automatically generated">
            <a:extLst>
              <a:ext uri="{FF2B5EF4-FFF2-40B4-BE49-F238E27FC236}">
                <a16:creationId xmlns:a16="http://schemas.microsoft.com/office/drawing/2014/main" id="{A1BD3D3E-757F-47F0-B6AE-0C47D60BC5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9552B8-08F6-0184-4444-759FB7909D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1390649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0323" y="2262234"/>
            <a:ext cx="10720888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6B6493-342A-A10A-AA72-54305B0AF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5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5741113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screenshot, white, black, design&#10;&#10;Description automatically generated">
            <a:extLst>
              <a:ext uri="{FF2B5EF4-FFF2-40B4-BE49-F238E27FC236}">
                <a16:creationId xmlns:a16="http://schemas.microsoft.com/office/drawing/2014/main" id="{05EBA526-F461-F4F7-9D60-1AFF5A1BED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51" y="0"/>
            <a:ext cx="12200351" cy="6881486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FFA0A4E1-9284-A50C-6DCB-A3878C507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570" y="590042"/>
            <a:ext cx="8730641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9010593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EEC4C826-5D3F-F0A2-38A4-FEA46CE9B3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729" y="0"/>
            <a:ext cx="12200351" cy="6881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985C7D-C16D-CA6B-7376-6068279D8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2662" y="238237"/>
            <a:ext cx="8730641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0905861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EEC4C826-5D3F-F0A2-38A4-FEA46CE9B3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00351" cy="6881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985C7D-C16D-CA6B-7376-6068279D8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787" y="238237"/>
            <a:ext cx="8730641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1631072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screenshot, white, black, design&#10;&#10;Description automatically generated">
            <a:extLst>
              <a:ext uri="{FF2B5EF4-FFF2-40B4-BE49-F238E27FC236}">
                <a16:creationId xmlns:a16="http://schemas.microsoft.com/office/drawing/2014/main" id="{05EBA526-F461-F4F7-9D60-1AFF5A1BED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00351" cy="688148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95A340E-7C4A-4DBB-4882-32C474A1F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2977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700397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white, design&#10;&#10;Description automatically generated">
            <a:extLst>
              <a:ext uri="{FF2B5EF4-FFF2-40B4-BE49-F238E27FC236}">
                <a16:creationId xmlns:a16="http://schemas.microsoft.com/office/drawing/2014/main" id="{A1BD3D3E-757F-47F0-B6AE-0C47D60BC5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9552B8-08F6-0184-4444-759FB7909D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1390649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0323" y="2262234"/>
            <a:ext cx="10720888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pic>
        <p:nvPicPr>
          <p:cNvPr id="4" name="Picture 3" descr="A picture containing graphics, font, text, logo&#10;&#10;Description automatically generated">
            <a:extLst>
              <a:ext uri="{FF2B5EF4-FFF2-40B4-BE49-F238E27FC236}">
                <a16:creationId xmlns:a16="http://schemas.microsoft.com/office/drawing/2014/main" id="{1B794283-98CC-AF1D-96A3-FF4EFD8846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325" y="443121"/>
            <a:ext cx="1451627" cy="4862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C6B6493-342A-A10A-AA72-54305B0AF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126"/>
            <a:ext cx="10515600" cy="137678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16461122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1875" y="2425072"/>
            <a:ext cx="6782938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EB25992-7508-BC71-719B-12A8F915F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1875" y="83770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91E5AD-3834-CEA1-4787-FA26541D1ED7}"/>
              </a:ext>
            </a:extLst>
          </p:cNvPr>
          <p:cNvSpPr/>
          <p:nvPr userDrawn="1"/>
        </p:nvSpPr>
        <p:spPr>
          <a:xfrm>
            <a:off x="4517410" y="1840267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28031275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2425072"/>
            <a:ext cx="7200330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E60A94-213E-4B5E-EDD5-86CB42AC6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84193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D95720-656F-D4F4-60A5-5A145144AFF0}"/>
              </a:ext>
            </a:extLst>
          </p:cNvPr>
          <p:cNvSpPr/>
          <p:nvPr userDrawn="1"/>
        </p:nvSpPr>
        <p:spPr>
          <a:xfrm>
            <a:off x="944871" y="1840267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755555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creenshot, design&#10;&#10;Description automatically generated">
            <a:extLst>
              <a:ext uri="{FF2B5EF4-FFF2-40B4-BE49-F238E27FC236}">
                <a16:creationId xmlns:a16="http://schemas.microsoft.com/office/drawing/2014/main" id="{CB2E8A66-F09D-9001-8C92-615B97B24F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" r="12520" b="22816"/>
          <a:stretch/>
        </p:blipFill>
        <p:spPr>
          <a:xfrm>
            <a:off x="1" y="-21654"/>
            <a:ext cx="12191999" cy="6879654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6679" y="2425072"/>
            <a:ext cx="7200330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E60A94-213E-4B5E-EDD5-86CB42AC6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679" y="84193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3372237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 l="-1000"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creenshot, design&#10;&#10;Description automatically generated">
            <a:extLst>
              <a:ext uri="{FF2B5EF4-FFF2-40B4-BE49-F238E27FC236}">
                <a16:creationId xmlns:a16="http://schemas.microsoft.com/office/drawing/2014/main" id="{3FE061E4-44DA-5288-EE7F-F2EB953C69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" b="1030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4BCF8C9-3BDE-1E57-A899-12271B0B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841933"/>
            <a:ext cx="7200330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D2420DE-405E-1B16-416D-C74F13C126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2425072"/>
            <a:ext cx="7200330" cy="35909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6474818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2425073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B3B59-A84B-55D2-5206-B6AA41E4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841933"/>
            <a:ext cx="10560524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00339821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2425073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841933"/>
            <a:ext cx="10560524" cy="50919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5961475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3497240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1914101"/>
            <a:ext cx="10560524" cy="62438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0DD98E-A7C5-5BAB-E655-E72A49FD8B5D}"/>
              </a:ext>
            </a:extLst>
          </p:cNvPr>
          <p:cNvSpPr/>
          <p:nvPr userDrawn="1"/>
        </p:nvSpPr>
        <p:spPr>
          <a:xfrm>
            <a:off x="930891" y="1645450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57333202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1863468"/>
            <a:ext cx="10560524" cy="38233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589579"/>
            <a:ext cx="10560524" cy="62438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0DD98E-A7C5-5BAB-E655-E72A49FD8B5D}"/>
              </a:ext>
            </a:extLst>
          </p:cNvPr>
          <p:cNvSpPr/>
          <p:nvPr userDrawn="1"/>
        </p:nvSpPr>
        <p:spPr>
          <a:xfrm>
            <a:off x="930891" y="1259213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14217964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bg>
      <p:bgPr>
        <a:blipFill dpi="0" rotWithShape="1">
          <a:blip r:embed="rId2">
            <a:lum/>
          </a:blip>
          <a:srcRect/>
          <a:stretch>
            <a:fillRect t="-10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FCE8656-A5F6-1B3F-62BB-8F1A48BE1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709" y="3497240"/>
            <a:ext cx="10560524" cy="2406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400" b="0" i="0">
                <a:solidFill>
                  <a:srgbClr val="30322F"/>
                </a:solidFill>
                <a:latin typeface="Montserrat" pitchFamily="2" charset="77"/>
              </a:defRPr>
            </a:lvl1pPr>
            <a:lvl2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2pPr>
            <a:lvl3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3pPr>
            <a:lvl4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30322F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CED9A0-2F47-8972-4B49-5B1B1C547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09" y="1914101"/>
            <a:ext cx="10560524" cy="62438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 i="0">
                <a:solidFill>
                  <a:srgbClr val="30322F"/>
                </a:solidFill>
                <a:latin typeface="Montserrat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0DD98E-A7C5-5BAB-E655-E72A49FD8B5D}"/>
              </a:ext>
            </a:extLst>
          </p:cNvPr>
          <p:cNvSpPr/>
          <p:nvPr userDrawn="1"/>
        </p:nvSpPr>
        <p:spPr>
          <a:xfrm>
            <a:off x="930891" y="1645450"/>
            <a:ext cx="941695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5399"/>
          </a:p>
        </p:txBody>
      </p:sp>
    </p:spTree>
    <p:extLst>
      <p:ext uri="{BB962C8B-B14F-4D97-AF65-F5344CB8AC3E}">
        <p14:creationId xmlns:p14="http://schemas.microsoft.com/office/powerpoint/2010/main" val="25023231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D3075-8763-DFCB-5665-84C55B30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7054" y="3158836"/>
            <a:ext cx="8638309" cy="90054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1" i="0">
                <a:solidFill>
                  <a:schemeClr val="accent4">
                    <a:lumMod val="60000"/>
                    <a:lumOff val="40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en-GB"/>
              <a:t>Thank you!</a:t>
            </a:r>
            <a:endParaRPr lang="en-FI"/>
          </a:p>
        </p:txBody>
      </p:sp>
      <p:pic>
        <p:nvPicPr>
          <p:cNvPr id="4" name="Picture 3" descr="A person smiling and giving thumbs up&#10;&#10;Description automatically generated with low confidence">
            <a:extLst>
              <a:ext uri="{FF2B5EF4-FFF2-40B4-BE49-F238E27FC236}">
                <a16:creationId xmlns:a16="http://schemas.microsoft.com/office/drawing/2014/main" id="{7B590B09-7D55-0930-5E2F-1A55EA56D3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13163" y="1347922"/>
            <a:ext cx="4897582" cy="4897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641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30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slideLayout" Target="../slideLayouts/slideLayout6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2.xml"/><Relationship Id="rId9" Type="http://schemas.openxmlformats.org/officeDocument/2006/relationships/image" Target="../media/image4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EC9778-246C-4E13-9CA4-8B708830A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8302"/>
            <a:ext cx="10515600" cy="1189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C75A2-7653-4108-93E3-BD6E1B100B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28775"/>
            <a:ext cx="10515600" cy="4759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0368F2-7E0F-48A8-A4FB-AA9C361FF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48144" y="6381749"/>
            <a:ext cx="695714" cy="3571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fld id="{40AFD09B-4CEF-4A7E-AF7B-2EEA099D4AD7}" type="slidenum">
              <a:rPr lang="en-FI" smtClean="0"/>
              <a:pPr algn="ctr"/>
              <a:t>‹#›</a:t>
            </a:fld>
            <a:endParaRPr lang="en-FI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54F16FB-95CB-4E1C-9188-C69D2728C7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97528" y="6381750"/>
            <a:ext cx="1224951" cy="3671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FI" sz="1050"/>
          </a:p>
        </p:txBody>
      </p:sp>
    </p:spTree>
    <p:extLst>
      <p:ext uri="{BB962C8B-B14F-4D97-AF65-F5344CB8AC3E}">
        <p14:creationId xmlns:p14="http://schemas.microsoft.com/office/powerpoint/2010/main" val="1532704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5" r:id="rId2"/>
    <p:sldLayoutId id="2147483697" r:id="rId3"/>
    <p:sldLayoutId id="2147483698" r:id="rId4"/>
    <p:sldLayoutId id="2147483699" r:id="rId5"/>
    <p:sldLayoutId id="2147483700" r:id="rId6"/>
    <p:sldLayoutId id="2147483722" r:id="rId7"/>
    <p:sldLayoutId id="2147483723" r:id="rId8"/>
    <p:sldLayoutId id="2147483721" r:id="rId9"/>
    <p:sldLayoutId id="2147483717" r:id="rId10"/>
    <p:sldLayoutId id="2147483719" r:id="rId11"/>
    <p:sldLayoutId id="2147483724" r:id="rId12"/>
    <p:sldLayoutId id="2147483720" r:id="rId13"/>
    <p:sldLayoutId id="2147483715" r:id="rId14"/>
    <p:sldLayoutId id="2147483704" r:id="rId15"/>
    <p:sldLayoutId id="2147483716" r:id="rId16"/>
    <p:sldLayoutId id="2147483703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1" r:id="rId23"/>
    <p:sldLayoutId id="2147483829" r:id="rId24"/>
    <p:sldLayoutId id="2147483830" r:id="rId25"/>
    <p:sldLayoutId id="2147483828" r:id="rId26"/>
    <p:sldLayoutId id="2147483956" r:id="rId27"/>
    <p:sldLayoutId id="2147483825" r:id="rId28"/>
  </p:sldLayoutIdLst>
  <p:hf sldNum="0" hdr="0" dt="0"/>
  <p:txStyles>
    <p:titleStyle>
      <a:lvl1pPr algn="l" defTabSz="91428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447619" indent="-447619" algn="l" defTabSz="914286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100000"/>
        <a:buFontTx/>
        <a:buBlip>
          <a:blip r:embed="rId30"/>
        </a:buBlip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14286" indent="-322223" algn="l" defTabSz="91428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tabLst>
          <a:tab pos="542857" algn="l"/>
        </a:tabLst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6190" indent="-314286" algn="l" defTabSz="99047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8095" indent="-323810" algn="l" defTabSz="91428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04762" indent="-320635" algn="l" defTabSz="91428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286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28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1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4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9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1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4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7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280" userDrawn="1">
          <p15:clr>
            <a:srgbClr val="F26B43"/>
          </p15:clr>
        </p15:guide>
        <p15:guide id="3" pos="2384" userDrawn="1">
          <p15:clr>
            <a:srgbClr val="F26B43"/>
          </p15:clr>
        </p15:guide>
        <p15:guide id="4" pos="176" userDrawn="1">
          <p15:clr>
            <a:srgbClr val="F26B43"/>
          </p15:clr>
        </p15:guide>
        <p15:guide id="6" orient="horz" pos="1416" userDrawn="1">
          <p15:clr>
            <a:srgbClr val="F26B43"/>
          </p15:clr>
        </p15:guide>
        <p15:guide id="7" orient="horz" pos="77" userDrawn="1">
          <p15:clr>
            <a:srgbClr val="F26B43"/>
          </p15:clr>
        </p15:guide>
        <p15:guide id="9" pos="1053" userDrawn="1">
          <p15:clr>
            <a:srgbClr val="F26B43"/>
          </p15:clr>
        </p15:guide>
        <p15:guide id="10" orient="horz" pos="1340" userDrawn="1">
          <p15:clr>
            <a:srgbClr val="F26B43"/>
          </p15:clr>
        </p15:guide>
        <p15:guide id="11" pos="2505" userDrawn="1">
          <p15:clr>
            <a:srgbClr val="F26B43"/>
          </p15:clr>
        </p15:guide>
        <p15:guide id="12" pos="48" userDrawn="1">
          <p15:clr>
            <a:srgbClr val="F26B43"/>
          </p15:clr>
        </p15:guide>
        <p15:guide id="14" orient="horz" pos="327" userDrawn="1">
          <p15:clr>
            <a:srgbClr val="F26B43"/>
          </p15:clr>
        </p15:guide>
        <p15:guide id="15" orient="horz" pos="342" userDrawn="1">
          <p15:clr>
            <a:srgbClr val="F26B43"/>
          </p15:clr>
        </p15:guide>
        <p15:guide id="16" pos="52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 sz="20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71364" y="1701296"/>
            <a:ext cx="11448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Noto Sans Symbols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ftr" idx="11"/>
          </p:nvPr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0" name="Google Shape;10;p1"/>
          <p:cNvGrpSpPr/>
          <p:nvPr/>
        </p:nvGrpSpPr>
        <p:grpSpPr>
          <a:xfrm>
            <a:off x="-132692" y="1700808"/>
            <a:ext cx="72000" cy="4032448"/>
            <a:chOff x="-456728" y="1700808"/>
            <a:chExt cx="216000" cy="4032448"/>
          </a:xfrm>
        </p:grpSpPr>
        <p:cxnSp>
          <p:nvCxnSpPr>
            <p:cNvPr id="11" name="Google Shape;11;p1"/>
            <p:cNvCxnSpPr/>
            <p:nvPr/>
          </p:nvCxnSpPr>
          <p:spPr>
            <a:xfrm>
              <a:off x="-456728" y="1700808"/>
              <a:ext cx="216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" name="Google Shape;12;p1"/>
            <p:cNvCxnSpPr/>
            <p:nvPr/>
          </p:nvCxnSpPr>
          <p:spPr>
            <a:xfrm>
              <a:off x="-456728" y="5733256"/>
              <a:ext cx="216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3" name="Google Shape;13;p1"/>
          <p:cNvGrpSpPr/>
          <p:nvPr/>
        </p:nvGrpSpPr>
        <p:grpSpPr>
          <a:xfrm>
            <a:off x="371364" y="-171400"/>
            <a:ext cx="11449272" cy="72000"/>
            <a:chOff x="371364" y="-171400"/>
            <a:chExt cx="11449272" cy="72000"/>
          </a:xfrm>
        </p:grpSpPr>
        <p:grpSp>
          <p:nvGrpSpPr>
            <p:cNvPr id="14" name="Google Shape;14;p1"/>
            <p:cNvGrpSpPr/>
            <p:nvPr/>
          </p:nvGrpSpPr>
          <p:grpSpPr>
            <a:xfrm>
              <a:off x="4043729" y="-171400"/>
              <a:ext cx="215995" cy="72000"/>
              <a:chOff x="4007768" y="-171400"/>
              <a:chExt cx="288032" cy="72000"/>
            </a:xfrm>
          </p:grpSpPr>
          <p:cxnSp>
            <p:nvCxnSpPr>
              <p:cNvPr id="15" name="Google Shape;15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6" name="Google Shape;16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17" name="Google Shape;17;p1"/>
            <p:cNvGrpSpPr/>
            <p:nvPr/>
          </p:nvGrpSpPr>
          <p:grpSpPr>
            <a:xfrm>
              <a:off x="5987913" y="-171400"/>
              <a:ext cx="215995" cy="72000"/>
              <a:chOff x="5951984" y="-171400"/>
              <a:chExt cx="288032" cy="72000"/>
            </a:xfrm>
          </p:grpSpPr>
          <p:cxnSp>
            <p:nvCxnSpPr>
              <p:cNvPr id="18" name="Google Shape;18;p1"/>
              <p:cNvCxnSpPr/>
              <p:nvPr/>
            </p:nvCxnSpPr>
            <p:spPr>
              <a:xfrm>
                <a:off x="5951984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9" name="Google Shape;19;p1"/>
              <p:cNvCxnSpPr/>
              <p:nvPr/>
            </p:nvCxnSpPr>
            <p:spPr>
              <a:xfrm>
                <a:off x="6240016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20" name="Google Shape;20;p1"/>
            <p:cNvGrpSpPr/>
            <p:nvPr/>
          </p:nvGrpSpPr>
          <p:grpSpPr>
            <a:xfrm>
              <a:off x="7932096" y="-171400"/>
              <a:ext cx="215995" cy="72000"/>
              <a:chOff x="7896200" y="-171400"/>
              <a:chExt cx="288032" cy="72000"/>
            </a:xfrm>
          </p:grpSpPr>
          <p:cxnSp>
            <p:nvCxnSpPr>
              <p:cNvPr id="21" name="Google Shape;21;p1"/>
              <p:cNvCxnSpPr/>
              <p:nvPr/>
            </p:nvCxnSpPr>
            <p:spPr>
              <a:xfrm>
                <a:off x="78962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2" name="Google Shape;22;p1"/>
              <p:cNvCxnSpPr/>
              <p:nvPr/>
            </p:nvCxnSpPr>
            <p:spPr>
              <a:xfrm>
                <a:off x="8184232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23" name="Google Shape;23;p1"/>
            <p:cNvGrpSpPr/>
            <p:nvPr/>
          </p:nvGrpSpPr>
          <p:grpSpPr>
            <a:xfrm>
              <a:off x="371364" y="-171400"/>
              <a:ext cx="11449272" cy="72000"/>
              <a:chOff x="371364" y="-171400"/>
              <a:chExt cx="11449272" cy="72000"/>
            </a:xfrm>
          </p:grpSpPr>
          <p:cxnSp>
            <p:nvCxnSpPr>
              <p:cNvPr id="24" name="Google Shape;24;p1"/>
              <p:cNvCxnSpPr/>
              <p:nvPr/>
            </p:nvCxnSpPr>
            <p:spPr>
              <a:xfrm>
                <a:off x="371364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5" name="Google Shape;25;p1"/>
              <p:cNvCxnSpPr/>
              <p:nvPr/>
            </p:nvCxnSpPr>
            <p:spPr>
              <a:xfrm>
                <a:off x="11820636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26" name="Google Shape;26;p1"/>
            <p:cNvGrpSpPr/>
            <p:nvPr/>
          </p:nvGrpSpPr>
          <p:grpSpPr>
            <a:xfrm>
              <a:off x="3071621" y="-171400"/>
              <a:ext cx="215995" cy="72000"/>
              <a:chOff x="4007768" y="-171400"/>
              <a:chExt cx="288032" cy="72000"/>
            </a:xfrm>
          </p:grpSpPr>
          <p:cxnSp>
            <p:nvCxnSpPr>
              <p:cNvPr id="27" name="Google Shape;27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8" name="Google Shape;28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29" name="Google Shape;29;p1"/>
            <p:cNvGrpSpPr/>
            <p:nvPr/>
          </p:nvGrpSpPr>
          <p:grpSpPr>
            <a:xfrm>
              <a:off x="2099513" y="-171400"/>
              <a:ext cx="215995" cy="72000"/>
              <a:chOff x="4007768" y="-171400"/>
              <a:chExt cx="288032" cy="72000"/>
            </a:xfrm>
          </p:grpSpPr>
          <p:cxnSp>
            <p:nvCxnSpPr>
              <p:cNvPr id="30" name="Google Shape;30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1" name="Google Shape;31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32" name="Google Shape;32;p1"/>
            <p:cNvGrpSpPr/>
            <p:nvPr/>
          </p:nvGrpSpPr>
          <p:grpSpPr>
            <a:xfrm>
              <a:off x="1127405" y="-171400"/>
              <a:ext cx="215995" cy="72000"/>
              <a:chOff x="4007768" y="-171400"/>
              <a:chExt cx="288032" cy="72000"/>
            </a:xfrm>
          </p:grpSpPr>
          <p:cxnSp>
            <p:nvCxnSpPr>
              <p:cNvPr id="33" name="Google Shape;33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4" name="Google Shape;34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35" name="Google Shape;35;p1"/>
            <p:cNvGrpSpPr/>
            <p:nvPr/>
          </p:nvGrpSpPr>
          <p:grpSpPr>
            <a:xfrm>
              <a:off x="5015813" y="-171400"/>
              <a:ext cx="215995" cy="72000"/>
              <a:chOff x="4007768" y="-171400"/>
              <a:chExt cx="288032" cy="72000"/>
            </a:xfrm>
          </p:grpSpPr>
          <p:cxnSp>
            <p:nvCxnSpPr>
              <p:cNvPr id="36" name="Google Shape;36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7" name="Google Shape;37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38" name="Google Shape;38;p1"/>
            <p:cNvGrpSpPr/>
            <p:nvPr/>
          </p:nvGrpSpPr>
          <p:grpSpPr>
            <a:xfrm>
              <a:off x="10848461" y="-171400"/>
              <a:ext cx="215995" cy="72000"/>
              <a:chOff x="4007768" y="-171400"/>
              <a:chExt cx="288032" cy="72000"/>
            </a:xfrm>
          </p:grpSpPr>
          <p:cxnSp>
            <p:nvCxnSpPr>
              <p:cNvPr id="39" name="Google Shape;39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0" name="Google Shape;40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41" name="Google Shape;41;p1"/>
            <p:cNvGrpSpPr/>
            <p:nvPr/>
          </p:nvGrpSpPr>
          <p:grpSpPr>
            <a:xfrm>
              <a:off x="9876353" y="-171400"/>
              <a:ext cx="215995" cy="72000"/>
              <a:chOff x="4007768" y="-171400"/>
              <a:chExt cx="288032" cy="72000"/>
            </a:xfrm>
          </p:grpSpPr>
          <p:cxnSp>
            <p:nvCxnSpPr>
              <p:cNvPr id="42" name="Google Shape;42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3" name="Google Shape;43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44" name="Google Shape;44;p1"/>
            <p:cNvGrpSpPr/>
            <p:nvPr/>
          </p:nvGrpSpPr>
          <p:grpSpPr>
            <a:xfrm>
              <a:off x="8904245" y="-171400"/>
              <a:ext cx="215995" cy="72000"/>
              <a:chOff x="4007768" y="-171400"/>
              <a:chExt cx="288032" cy="72000"/>
            </a:xfrm>
          </p:grpSpPr>
          <p:cxnSp>
            <p:nvCxnSpPr>
              <p:cNvPr id="45" name="Google Shape;45;p1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6" name="Google Shape;46;p1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47" name="Google Shape;47;p1"/>
            <p:cNvGrpSpPr/>
            <p:nvPr/>
          </p:nvGrpSpPr>
          <p:grpSpPr>
            <a:xfrm>
              <a:off x="6959964" y="-171400"/>
              <a:ext cx="215995" cy="72000"/>
              <a:chOff x="7896200" y="-171400"/>
              <a:chExt cx="288032" cy="72000"/>
            </a:xfrm>
          </p:grpSpPr>
          <p:cxnSp>
            <p:nvCxnSpPr>
              <p:cNvPr id="48" name="Google Shape;48;p1"/>
              <p:cNvCxnSpPr/>
              <p:nvPr/>
            </p:nvCxnSpPr>
            <p:spPr>
              <a:xfrm>
                <a:off x="78962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9" name="Google Shape;49;p1"/>
              <p:cNvCxnSpPr/>
              <p:nvPr/>
            </p:nvCxnSpPr>
            <p:spPr>
              <a:xfrm>
                <a:off x="8184232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</p:grpSp>
      <p:pic>
        <p:nvPicPr>
          <p:cNvPr id="50" name="Google Shape;50;p1"/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>
            <a:off x="371365" y="6397261"/>
            <a:ext cx="1188001" cy="1280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1" name="Google Shape;51;p1"/>
          <p:cNvGrpSpPr/>
          <p:nvPr/>
        </p:nvGrpSpPr>
        <p:grpSpPr>
          <a:xfrm>
            <a:off x="-132692" y="368661"/>
            <a:ext cx="72008" cy="6156684"/>
            <a:chOff x="-132692" y="368660"/>
            <a:chExt cx="72008" cy="6156684"/>
          </a:xfrm>
        </p:grpSpPr>
        <p:cxnSp>
          <p:nvCxnSpPr>
            <p:cNvPr id="52" name="Google Shape;52;p1"/>
            <p:cNvCxnSpPr/>
            <p:nvPr/>
          </p:nvCxnSpPr>
          <p:spPr>
            <a:xfrm>
              <a:off x="-132684" y="368660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3" name="Google Shape;53;p1"/>
            <p:cNvCxnSpPr/>
            <p:nvPr/>
          </p:nvCxnSpPr>
          <p:spPr>
            <a:xfrm>
              <a:off x="-132692" y="6525344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4" name="Google Shape;54;p1"/>
          <p:cNvGrpSpPr/>
          <p:nvPr/>
        </p:nvGrpSpPr>
        <p:grpSpPr>
          <a:xfrm>
            <a:off x="-132692" y="3609020"/>
            <a:ext cx="72000" cy="216024"/>
            <a:chOff x="19708" y="1880828"/>
            <a:chExt cx="72000" cy="216024"/>
          </a:xfrm>
        </p:grpSpPr>
        <p:cxnSp>
          <p:nvCxnSpPr>
            <p:cNvPr id="55" name="Google Shape;55;p1"/>
            <p:cNvCxnSpPr/>
            <p:nvPr/>
          </p:nvCxnSpPr>
          <p:spPr>
            <a:xfrm>
              <a:off x="19708" y="1880828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" name="Google Shape;56;p1"/>
            <p:cNvCxnSpPr/>
            <p:nvPr/>
          </p:nvCxnSpPr>
          <p:spPr>
            <a:xfrm>
              <a:off x="19708" y="2096852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47220197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5" r:id="rId24"/>
    <p:sldLayoutId id="2147483856" r:id="rId25"/>
    <p:sldLayoutId id="2147483857" r:id="rId26"/>
    <p:sldLayoutId id="2147483858" r:id="rId27"/>
    <p:sldLayoutId id="2147483859" r:id="rId28"/>
    <p:sldLayoutId id="2147483860" r:id="rId29"/>
    <p:sldLayoutId id="2147483861" r:id="rId3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175">
          <p15:clr>
            <a:srgbClr val="F26B43"/>
          </p15:clr>
        </p15:guide>
        <p15:guide id="2" pos="5585">
          <p15:clr>
            <a:srgbClr val="F26B43"/>
          </p15:clr>
        </p15:guide>
        <p15:guide id="3" orient="horz" pos="803">
          <p15:clr>
            <a:srgbClr val="F26B43"/>
          </p15:clr>
        </p15:guide>
        <p15:guide id="4" orient="horz" pos="2709">
          <p15:clr>
            <a:srgbClr val="F26B43"/>
          </p15:clr>
        </p15:guide>
        <p15:guide id="5" orient="horz" pos="1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962BE1-28AF-A389-D307-9CF18E7D8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62344562"/>
              </p:ext>
            </p:extLst>
          </p:nvPr>
        </p:nvGraphicFramePr>
        <p:xfrm>
          <a:off x="1591" y="1588"/>
          <a:ext cx="15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1" imgH="411" progId="TCLayout.ActiveDocument.1">
                  <p:embed/>
                </p:oleObj>
              </mc:Choice>
              <mc:Fallback>
                <p:oleObj name="think-cell Slide" r:id="rId7" imgW="411" imgH="41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962BE1-28AF-A389-D307-9CF18E7D8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95"/>
          <p:cNvSpPr txBox="1">
            <a:spLocks noGrp="1"/>
          </p:cNvSpPr>
          <p:nvPr>
            <p:ph type="title"/>
          </p:nvPr>
        </p:nvSpPr>
        <p:spPr>
          <a:xfrm>
            <a:off x="371365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Georgia"/>
              <a:buNone/>
              <a:defRPr sz="2000" b="0" i="0" u="none" strike="noStrike" cap="none">
                <a:solidFill>
                  <a:schemeClr val="lt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5"/>
          <p:cNvSpPr txBox="1">
            <a:spLocks noGrp="1"/>
          </p:cNvSpPr>
          <p:nvPr>
            <p:ph type="body" idx="1"/>
          </p:nvPr>
        </p:nvSpPr>
        <p:spPr>
          <a:xfrm>
            <a:off x="371365" y="1701296"/>
            <a:ext cx="11448000" cy="40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0" bIns="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>
                <a:srgbClr val="E60000"/>
              </a:buClr>
              <a:buSzPts val="1100"/>
              <a:buFont typeface="Arial"/>
              <a:buChar char="⬥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Noto Sans Symbols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Noto Sans Symbols"/>
              <a:buChar char="﹣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5"/>
          <p:cNvSpPr txBox="1">
            <a:spLocks noGrp="1"/>
          </p:cNvSpPr>
          <p:nvPr>
            <p:ph type="ftr" idx="11"/>
          </p:nvPr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7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95"/>
          <p:cNvSpPr txBox="1">
            <a:spLocks noGrp="1"/>
          </p:cNvSpPr>
          <p:nvPr>
            <p:ph type="sldNum" idx="12"/>
          </p:nvPr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080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98"/>
              <a:buFont typeface="Arial"/>
              <a:buNone/>
              <a:defRPr sz="79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4" name="Google Shape;14;p95"/>
          <p:cNvGrpSpPr/>
          <p:nvPr/>
        </p:nvGrpSpPr>
        <p:grpSpPr>
          <a:xfrm>
            <a:off x="-132692" y="1700808"/>
            <a:ext cx="72000" cy="4032448"/>
            <a:chOff x="-456728" y="1700808"/>
            <a:chExt cx="216000" cy="4032448"/>
          </a:xfrm>
        </p:grpSpPr>
        <p:cxnSp>
          <p:nvCxnSpPr>
            <p:cNvPr id="15" name="Google Shape;15;p95"/>
            <p:cNvCxnSpPr/>
            <p:nvPr/>
          </p:nvCxnSpPr>
          <p:spPr>
            <a:xfrm>
              <a:off x="-456728" y="1700808"/>
              <a:ext cx="216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16;p95"/>
            <p:cNvCxnSpPr/>
            <p:nvPr/>
          </p:nvCxnSpPr>
          <p:spPr>
            <a:xfrm>
              <a:off x="-456728" y="5733256"/>
              <a:ext cx="216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7" name="Google Shape;17;p95"/>
          <p:cNvGrpSpPr/>
          <p:nvPr/>
        </p:nvGrpSpPr>
        <p:grpSpPr>
          <a:xfrm>
            <a:off x="371365" y="-171400"/>
            <a:ext cx="11449272" cy="72000"/>
            <a:chOff x="371364" y="-171400"/>
            <a:chExt cx="11449272" cy="72000"/>
          </a:xfrm>
        </p:grpSpPr>
        <p:grpSp>
          <p:nvGrpSpPr>
            <p:cNvPr id="18" name="Google Shape;18;p95"/>
            <p:cNvGrpSpPr/>
            <p:nvPr/>
          </p:nvGrpSpPr>
          <p:grpSpPr>
            <a:xfrm>
              <a:off x="4043729" y="-171400"/>
              <a:ext cx="215995" cy="72000"/>
              <a:chOff x="4007768" y="-171400"/>
              <a:chExt cx="288032" cy="72000"/>
            </a:xfrm>
          </p:grpSpPr>
          <p:cxnSp>
            <p:nvCxnSpPr>
              <p:cNvPr id="19" name="Google Shape;19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0" name="Google Shape;20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21" name="Google Shape;21;p95"/>
            <p:cNvGrpSpPr/>
            <p:nvPr/>
          </p:nvGrpSpPr>
          <p:grpSpPr>
            <a:xfrm>
              <a:off x="5987913" y="-171400"/>
              <a:ext cx="215995" cy="72000"/>
              <a:chOff x="5951984" y="-171400"/>
              <a:chExt cx="288032" cy="72000"/>
            </a:xfrm>
          </p:grpSpPr>
          <p:cxnSp>
            <p:nvCxnSpPr>
              <p:cNvPr id="22" name="Google Shape;22;p95"/>
              <p:cNvCxnSpPr/>
              <p:nvPr/>
            </p:nvCxnSpPr>
            <p:spPr>
              <a:xfrm>
                <a:off x="5951984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3" name="Google Shape;23;p95"/>
              <p:cNvCxnSpPr/>
              <p:nvPr/>
            </p:nvCxnSpPr>
            <p:spPr>
              <a:xfrm>
                <a:off x="6240016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24" name="Google Shape;24;p95"/>
            <p:cNvGrpSpPr/>
            <p:nvPr/>
          </p:nvGrpSpPr>
          <p:grpSpPr>
            <a:xfrm>
              <a:off x="7932096" y="-171400"/>
              <a:ext cx="215995" cy="72000"/>
              <a:chOff x="7896200" y="-171400"/>
              <a:chExt cx="288032" cy="72000"/>
            </a:xfrm>
          </p:grpSpPr>
          <p:cxnSp>
            <p:nvCxnSpPr>
              <p:cNvPr id="25" name="Google Shape;25;p95"/>
              <p:cNvCxnSpPr/>
              <p:nvPr/>
            </p:nvCxnSpPr>
            <p:spPr>
              <a:xfrm>
                <a:off x="78962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6" name="Google Shape;26;p95"/>
              <p:cNvCxnSpPr/>
              <p:nvPr/>
            </p:nvCxnSpPr>
            <p:spPr>
              <a:xfrm>
                <a:off x="8184232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27" name="Google Shape;27;p95"/>
            <p:cNvGrpSpPr/>
            <p:nvPr/>
          </p:nvGrpSpPr>
          <p:grpSpPr>
            <a:xfrm>
              <a:off x="371364" y="-171400"/>
              <a:ext cx="11449272" cy="72000"/>
              <a:chOff x="371364" y="-171400"/>
              <a:chExt cx="11449272" cy="72000"/>
            </a:xfrm>
          </p:grpSpPr>
          <p:cxnSp>
            <p:nvCxnSpPr>
              <p:cNvPr id="28" name="Google Shape;28;p95"/>
              <p:cNvCxnSpPr/>
              <p:nvPr/>
            </p:nvCxnSpPr>
            <p:spPr>
              <a:xfrm>
                <a:off x="371364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" name="Google Shape;29;p95"/>
              <p:cNvCxnSpPr/>
              <p:nvPr/>
            </p:nvCxnSpPr>
            <p:spPr>
              <a:xfrm>
                <a:off x="11820636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30" name="Google Shape;30;p95"/>
            <p:cNvGrpSpPr/>
            <p:nvPr/>
          </p:nvGrpSpPr>
          <p:grpSpPr>
            <a:xfrm>
              <a:off x="3071621" y="-171400"/>
              <a:ext cx="215995" cy="72000"/>
              <a:chOff x="4007768" y="-171400"/>
              <a:chExt cx="288032" cy="72000"/>
            </a:xfrm>
          </p:grpSpPr>
          <p:cxnSp>
            <p:nvCxnSpPr>
              <p:cNvPr id="31" name="Google Shape;31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2" name="Google Shape;32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33" name="Google Shape;33;p95"/>
            <p:cNvGrpSpPr/>
            <p:nvPr/>
          </p:nvGrpSpPr>
          <p:grpSpPr>
            <a:xfrm>
              <a:off x="2099513" y="-171400"/>
              <a:ext cx="215995" cy="72000"/>
              <a:chOff x="4007768" y="-171400"/>
              <a:chExt cx="288032" cy="72000"/>
            </a:xfrm>
          </p:grpSpPr>
          <p:cxnSp>
            <p:nvCxnSpPr>
              <p:cNvPr id="34" name="Google Shape;34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5" name="Google Shape;35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36" name="Google Shape;36;p95"/>
            <p:cNvGrpSpPr/>
            <p:nvPr/>
          </p:nvGrpSpPr>
          <p:grpSpPr>
            <a:xfrm>
              <a:off x="1127405" y="-171400"/>
              <a:ext cx="215995" cy="72000"/>
              <a:chOff x="4007768" y="-171400"/>
              <a:chExt cx="288032" cy="72000"/>
            </a:xfrm>
          </p:grpSpPr>
          <p:cxnSp>
            <p:nvCxnSpPr>
              <p:cNvPr id="37" name="Google Shape;37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8" name="Google Shape;38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39" name="Google Shape;39;p95"/>
            <p:cNvGrpSpPr/>
            <p:nvPr/>
          </p:nvGrpSpPr>
          <p:grpSpPr>
            <a:xfrm>
              <a:off x="5015813" y="-171400"/>
              <a:ext cx="215995" cy="72000"/>
              <a:chOff x="4007768" y="-171400"/>
              <a:chExt cx="288032" cy="72000"/>
            </a:xfrm>
          </p:grpSpPr>
          <p:cxnSp>
            <p:nvCxnSpPr>
              <p:cNvPr id="40" name="Google Shape;40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1" name="Google Shape;41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42" name="Google Shape;42;p95"/>
            <p:cNvGrpSpPr/>
            <p:nvPr/>
          </p:nvGrpSpPr>
          <p:grpSpPr>
            <a:xfrm>
              <a:off x="10848461" y="-171400"/>
              <a:ext cx="215995" cy="72000"/>
              <a:chOff x="4007768" y="-171400"/>
              <a:chExt cx="288032" cy="72000"/>
            </a:xfrm>
          </p:grpSpPr>
          <p:cxnSp>
            <p:nvCxnSpPr>
              <p:cNvPr id="43" name="Google Shape;43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4" name="Google Shape;44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45" name="Google Shape;45;p95"/>
            <p:cNvGrpSpPr/>
            <p:nvPr/>
          </p:nvGrpSpPr>
          <p:grpSpPr>
            <a:xfrm>
              <a:off x="9876353" y="-171400"/>
              <a:ext cx="215995" cy="72000"/>
              <a:chOff x="4007768" y="-171400"/>
              <a:chExt cx="288032" cy="72000"/>
            </a:xfrm>
          </p:grpSpPr>
          <p:cxnSp>
            <p:nvCxnSpPr>
              <p:cNvPr id="46" name="Google Shape;46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7" name="Google Shape;47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48" name="Google Shape;48;p95"/>
            <p:cNvGrpSpPr/>
            <p:nvPr/>
          </p:nvGrpSpPr>
          <p:grpSpPr>
            <a:xfrm>
              <a:off x="8904245" y="-171400"/>
              <a:ext cx="215995" cy="72000"/>
              <a:chOff x="4007768" y="-171400"/>
              <a:chExt cx="288032" cy="72000"/>
            </a:xfrm>
          </p:grpSpPr>
          <p:cxnSp>
            <p:nvCxnSpPr>
              <p:cNvPr id="49" name="Google Shape;49;p95"/>
              <p:cNvCxnSpPr/>
              <p:nvPr/>
            </p:nvCxnSpPr>
            <p:spPr>
              <a:xfrm>
                <a:off x="4007768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0" name="Google Shape;50;p95"/>
              <p:cNvCxnSpPr/>
              <p:nvPr/>
            </p:nvCxnSpPr>
            <p:spPr>
              <a:xfrm>
                <a:off x="42958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51" name="Google Shape;51;p95"/>
            <p:cNvGrpSpPr/>
            <p:nvPr/>
          </p:nvGrpSpPr>
          <p:grpSpPr>
            <a:xfrm>
              <a:off x="6959964" y="-171400"/>
              <a:ext cx="215995" cy="72000"/>
              <a:chOff x="7896200" y="-171400"/>
              <a:chExt cx="288032" cy="72000"/>
            </a:xfrm>
          </p:grpSpPr>
          <p:cxnSp>
            <p:nvCxnSpPr>
              <p:cNvPr id="52" name="Google Shape;52;p95"/>
              <p:cNvCxnSpPr/>
              <p:nvPr/>
            </p:nvCxnSpPr>
            <p:spPr>
              <a:xfrm>
                <a:off x="7896200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3" name="Google Shape;53;p95"/>
              <p:cNvCxnSpPr/>
              <p:nvPr/>
            </p:nvCxnSpPr>
            <p:spPr>
              <a:xfrm>
                <a:off x="8184232" y="-171400"/>
                <a:ext cx="0" cy="72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</p:grpSp>
      <p:pic>
        <p:nvPicPr>
          <p:cNvPr id="54" name="Google Shape;54;p95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371365" y="6397261"/>
            <a:ext cx="1188001" cy="1280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5" name="Google Shape;55;p95"/>
          <p:cNvGrpSpPr/>
          <p:nvPr/>
        </p:nvGrpSpPr>
        <p:grpSpPr>
          <a:xfrm>
            <a:off x="-132692" y="368661"/>
            <a:ext cx="72008" cy="6156684"/>
            <a:chOff x="-132692" y="368660"/>
            <a:chExt cx="72008" cy="6156684"/>
          </a:xfrm>
        </p:grpSpPr>
        <p:cxnSp>
          <p:nvCxnSpPr>
            <p:cNvPr id="56" name="Google Shape;56;p95"/>
            <p:cNvCxnSpPr/>
            <p:nvPr/>
          </p:nvCxnSpPr>
          <p:spPr>
            <a:xfrm>
              <a:off x="-132684" y="368660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7" name="Google Shape;57;p95"/>
            <p:cNvCxnSpPr/>
            <p:nvPr/>
          </p:nvCxnSpPr>
          <p:spPr>
            <a:xfrm>
              <a:off x="-132692" y="6525344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8" name="Google Shape;58;p95"/>
          <p:cNvGrpSpPr/>
          <p:nvPr/>
        </p:nvGrpSpPr>
        <p:grpSpPr>
          <a:xfrm>
            <a:off x="-132692" y="3609020"/>
            <a:ext cx="72000" cy="216024"/>
            <a:chOff x="19708" y="1880828"/>
            <a:chExt cx="72000" cy="216024"/>
          </a:xfrm>
        </p:grpSpPr>
        <p:cxnSp>
          <p:nvCxnSpPr>
            <p:cNvPr id="59" name="Google Shape;59;p95"/>
            <p:cNvCxnSpPr/>
            <p:nvPr/>
          </p:nvCxnSpPr>
          <p:spPr>
            <a:xfrm>
              <a:off x="19708" y="1880828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0" name="Google Shape;60;p95"/>
            <p:cNvCxnSpPr/>
            <p:nvPr/>
          </p:nvCxnSpPr>
          <p:spPr>
            <a:xfrm>
              <a:off x="19708" y="2096852"/>
              <a:ext cx="720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4" name="Google Shape;86;p97">
            <a:extLst>
              <a:ext uri="{FF2B5EF4-FFF2-40B4-BE49-F238E27FC236}">
                <a16:creationId xmlns:a16="http://schemas.microsoft.com/office/drawing/2014/main" id="{7C01575F-0E8C-66AA-D6B7-A548E2AFC457}"/>
              </a:ext>
            </a:extLst>
          </p:cNvPr>
          <p:cNvSpPr/>
          <p:nvPr userDrawn="1"/>
        </p:nvSpPr>
        <p:spPr>
          <a:xfrm>
            <a:off x="5055057" y="66309"/>
            <a:ext cx="2081886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6000" bIns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>
                <a:solidFill>
                  <a:srgbClr val="707172"/>
                </a:solidFill>
                <a:latin typeface="Georgia"/>
                <a:ea typeface="Georgia"/>
                <a:cs typeface="Georgia"/>
                <a:sym typeface="Georgia"/>
              </a:rPr>
              <a:t>Strictly Confidential</a:t>
            </a:r>
            <a:endParaRPr sz="500">
              <a:solidFill>
                <a:srgbClr val="70717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36431086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175">
          <p15:clr>
            <a:srgbClr val="F26B43"/>
          </p15:clr>
        </p15:guide>
        <p15:guide id="2" pos="5585">
          <p15:clr>
            <a:srgbClr val="F26B43"/>
          </p15:clr>
        </p15:guide>
        <p15:guide id="3" orient="horz" pos="803">
          <p15:clr>
            <a:srgbClr val="F26B43"/>
          </p15:clr>
        </p15:guide>
        <p15:guide id="4" orient="horz" pos="2709">
          <p15:clr>
            <a:srgbClr val="F26B43"/>
          </p15:clr>
        </p15:guide>
        <p15:guide id="5" orient="horz" pos="1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7025B5E-F393-4F0A-C18B-683E7E41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DC01E7-7182-C96B-8085-3879483493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DF2272D-C479-37BF-A512-54B30B71B5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2AEE31A-F789-44C6-A0A3-FCA9F1ED4A9A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E39104-EA71-57A5-C246-808AA8E197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4212D4-0D16-59F9-47F1-61B7007E3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2527A80-BF65-4AF9-9195-E3364694C6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73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8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EC9778-246C-4E13-9CA4-8B708830A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8301"/>
            <a:ext cx="10515600" cy="1189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C75A2-7653-4108-93E3-BD6E1B100B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28775"/>
            <a:ext cx="10515600" cy="4759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0368F2-7E0F-48A8-A4FB-AA9C361FF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48143" y="6381749"/>
            <a:ext cx="695714" cy="3571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fld id="{40AFD09B-4CEF-4A7E-AF7B-2EEA099D4AD7}" type="slidenum">
              <a:rPr lang="en-FI" smtClean="0"/>
              <a:pPr algn="ctr"/>
              <a:t>‹#›</a:t>
            </a:fld>
            <a:endParaRPr lang="en-FI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54F16FB-95CB-4E1C-9188-C69D2728C7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97528" y="6381750"/>
            <a:ext cx="1224951" cy="3671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FI" sz="1050"/>
          </a:p>
        </p:txBody>
      </p:sp>
    </p:spTree>
    <p:extLst>
      <p:ext uri="{BB962C8B-B14F-4D97-AF65-F5344CB8AC3E}">
        <p14:creationId xmlns:p14="http://schemas.microsoft.com/office/powerpoint/2010/main" val="3647493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  <p:sldLayoutId id="2147483996" r:id="rId15"/>
    <p:sldLayoutId id="2147483997" r:id="rId16"/>
    <p:sldLayoutId id="2147483998" r:id="rId17"/>
    <p:sldLayoutId id="2147483999" r:id="rId18"/>
    <p:sldLayoutId id="2147484000" r:id="rId19"/>
    <p:sldLayoutId id="2147484001" r:id="rId20"/>
    <p:sldLayoutId id="2147484002" r:id="rId21"/>
    <p:sldLayoutId id="2147484003" r:id="rId22"/>
    <p:sldLayoutId id="2147484004" r:id="rId23"/>
    <p:sldLayoutId id="2147484005" r:id="rId24"/>
    <p:sldLayoutId id="2147484006" r:id="rId25"/>
    <p:sldLayoutId id="2147484007" r:id="rId26"/>
    <p:sldLayoutId id="2147484008" r:id="rId27"/>
    <p:sldLayoutId id="2147484009" r:id="rId28"/>
  </p:sldLayoutIdLst>
  <p:hf sldNum="0"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447630" indent="-447630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100000"/>
        <a:buFontTx/>
        <a:buBlip>
          <a:blip r:embed="rId30"/>
        </a:buBlip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14304" indent="-322231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tabLst>
          <a:tab pos="542871" algn="l"/>
        </a:tabLst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6217" indent="-314294" algn="l" defTabSz="99050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8131" indent="-323818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04805" indent="-320643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00000"/>
        <a:buFontTx/>
        <a:buBlip>
          <a:blip r:embed="rId30"/>
        </a:buBlip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1520">
          <p15:clr>
            <a:srgbClr val="F26B43"/>
          </p15:clr>
        </p15:guide>
        <p15:guide id="3" pos="21453">
          <p15:clr>
            <a:srgbClr val="F26B43"/>
          </p15:clr>
        </p15:guide>
        <p15:guide id="4" pos="1587">
          <p15:clr>
            <a:srgbClr val="F26B43"/>
          </p15:clr>
        </p15:guide>
        <p15:guide id="6" orient="horz" pos="12741">
          <p15:clr>
            <a:srgbClr val="F26B43"/>
          </p15:clr>
        </p15:guide>
        <p15:guide id="7" orient="horz" pos="696">
          <p15:clr>
            <a:srgbClr val="F26B43"/>
          </p15:clr>
        </p15:guide>
        <p15:guide id="9" pos="9480">
          <p15:clr>
            <a:srgbClr val="F26B43"/>
          </p15:clr>
        </p15:guide>
        <p15:guide id="10" orient="horz" pos="12060">
          <p15:clr>
            <a:srgbClr val="F26B43"/>
          </p15:clr>
        </p15:guide>
        <p15:guide id="11" pos="22542">
          <p15:clr>
            <a:srgbClr val="F26B43"/>
          </p15:clr>
        </p15:guide>
        <p15:guide id="12" pos="429">
          <p15:clr>
            <a:srgbClr val="F26B43"/>
          </p15:clr>
        </p15:guide>
        <p15:guide id="14" orient="horz" pos="2943">
          <p15:clr>
            <a:srgbClr val="F26B43"/>
          </p15:clr>
        </p15:guide>
        <p15:guide id="15" orient="horz" pos="3078">
          <p15:clr>
            <a:srgbClr val="F26B43"/>
          </p15:clr>
        </p15:guide>
        <p15:guide id="16" pos="47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57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58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59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60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3.png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4.png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9.xml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5.png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7.png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8.png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9.png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4.xml"/><Relationship Id="rId4" Type="http://schemas.microsoft.com/office/2007/relationships/hdphoto" Target="../media/hdphoto3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4.xml"/><Relationship Id="rId5" Type="http://schemas.microsoft.com/office/2007/relationships/hdphoto" Target="../media/hdphoto4.wdp"/><Relationship Id="rId4" Type="http://schemas.openxmlformats.org/officeDocument/2006/relationships/image" Target="../media/image7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7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76.png"/><Relationship Id="rId5" Type="http://schemas.microsoft.com/office/2007/relationships/hdphoto" Target="../media/hdphoto2.wdp"/><Relationship Id="rId4" Type="http://schemas.openxmlformats.org/officeDocument/2006/relationships/image" Target="../media/image6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64.xml"/><Relationship Id="rId4" Type="http://schemas.microsoft.com/office/2007/relationships/hdphoto" Target="../media/hdphoto5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64.xml"/><Relationship Id="rId4" Type="http://schemas.microsoft.com/office/2007/relationships/hdphoto" Target="../media/hdphoto5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64.xml"/><Relationship Id="rId4" Type="http://schemas.microsoft.com/office/2007/relationships/hdphoto" Target="../media/hdphoto5.wdp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6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9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4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8B7_35A3425F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9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1B81DE0-109D-C49E-111C-08BE593469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56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EF7BBB1-2720-C07C-88B2-E52D8771A158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0" y="0"/>
            <a:chExt cx="9902977" cy="5570424"/>
          </a:xfrm>
        </p:grpSpPr>
        <p:pic>
          <p:nvPicPr>
            <p:cNvPr id="3" name="Grafik 4">
              <a:extLst>
                <a:ext uri="{FF2B5EF4-FFF2-40B4-BE49-F238E27FC236}">
                  <a16:creationId xmlns:a16="http://schemas.microsoft.com/office/drawing/2014/main" id="{3D1EDC62-7D7E-8257-1C9A-BC13B7382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18774"/>
            <a:stretch/>
          </p:blipFill>
          <p:spPr>
            <a:xfrm>
              <a:off x="0" y="0"/>
              <a:ext cx="9902977" cy="5570424"/>
            </a:xfrm>
            <a:prstGeom prst="rect">
              <a:avLst/>
            </a:prstGeom>
          </p:spPr>
        </p:pic>
        <p:pic>
          <p:nvPicPr>
            <p:cNvPr id="4" name="Grafik 4">
              <a:extLst>
                <a:ext uri="{FF2B5EF4-FFF2-40B4-BE49-F238E27FC236}">
                  <a16:creationId xmlns:a16="http://schemas.microsoft.com/office/drawing/2014/main" id="{AC5DA510-D56B-7D6A-62A4-9AC058C6A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11471" t="34764" r="18277" b="-335"/>
            <a:stretch/>
          </p:blipFill>
          <p:spPr>
            <a:xfrm>
              <a:off x="1337842" y="1917860"/>
              <a:ext cx="8565134" cy="3652564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66D45F-95D1-8833-B25C-EE42E768A9A2}"/>
              </a:ext>
            </a:extLst>
          </p:cNvPr>
          <p:cNvGrpSpPr/>
          <p:nvPr/>
        </p:nvGrpSpPr>
        <p:grpSpPr>
          <a:xfrm>
            <a:off x="-1" y="-23783"/>
            <a:ext cx="12223737" cy="6881783"/>
            <a:chOff x="-1" y="-23783"/>
            <a:chExt cx="12223737" cy="688178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5F29C55-21BA-0A37-3062-9A1805C194C2}"/>
                </a:ext>
              </a:extLst>
            </p:cNvPr>
            <p:cNvSpPr/>
            <p:nvPr/>
          </p:nvSpPr>
          <p:spPr>
            <a:xfrm>
              <a:off x="-1" y="-23783"/>
              <a:ext cx="12223737" cy="1958146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AB61D1C-6568-2D2A-20D8-537BC6D1DEBF}"/>
                </a:ext>
              </a:extLst>
            </p:cNvPr>
            <p:cNvSpPr/>
            <p:nvPr/>
          </p:nvSpPr>
          <p:spPr>
            <a:xfrm>
              <a:off x="1647075" y="1934363"/>
              <a:ext cx="10544923" cy="4923637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64372FAB-6443-7D5F-B759-1ABF37F39996}"/>
              </a:ext>
            </a:extLst>
          </p:cNvPr>
          <p:cNvSpPr/>
          <p:nvPr/>
        </p:nvSpPr>
        <p:spPr>
          <a:xfrm>
            <a:off x="88940" y="1885211"/>
            <a:ext cx="1566045" cy="486159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41173EE-1EB7-BF34-7750-2363162E793E}"/>
              </a:ext>
            </a:extLst>
          </p:cNvPr>
          <p:cNvGrpSpPr/>
          <p:nvPr/>
        </p:nvGrpSpPr>
        <p:grpSpPr>
          <a:xfrm>
            <a:off x="1786720" y="3404503"/>
            <a:ext cx="5493755" cy="1405050"/>
            <a:chOff x="4829838" y="-79169"/>
            <a:chExt cx="5493755" cy="1405050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7AB5F75-9D74-1E3E-5861-D7F672C9DD1E}"/>
                </a:ext>
              </a:extLst>
            </p:cNvPr>
            <p:cNvSpPr/>
            <p:nvPr/>
          </p:nvSpPr>
          <p:spPr>
            <a:xfrm>
              <a:off x="5764022" y="768162"/>
              <a:ext cx="4559571" cy="55771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inheitliche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Cashflows</a:t>
              </a: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 konzernweit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AED1DE8-DABC-A941-36D9-9E7B7DF4967E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15290BA-E613-81B5-33BA-6D7AE23D593B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6165A3F-486C-C0D4-B7C0-E39520D968A4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74086 w 1086600"/>
                  <a:gd name="connsiteY1" fmla="*/ 451863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74086 w 1086600"/>
                  <a:gd name="connsiteY1" fmla="*/ 451863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78777" y="851"/>
                      <a:pt x="1064816" y="232526"/>
                      <a:pt x="1074086" y="451863"/>
                    </a:cubicBezTo>
                    <a:cubicBezTo>
                      <a:pt x="964650" y="478655"/>
                      <a:pt x="716435" y="48904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08678" y="17484"/>
                      <a:pt x="1022580" y="215522"/>
                      <a:pt x="1074086" y="451863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02911" y="7885"/>
                      <a:pt x="1083234" y="192758"/>
                      <a:pt x="1074086" y="451863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>
                          <a:gd name="adj1" fmla="val 16200000"/>
                          <a:gd name="adj2" fmla="val 20819755"/>
                        </a:avLst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730AB0E-E43C-E4DD-2D77-E4DA9CD5FC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29" y="1911213"/>
            <a:ext cx="1566044" cy="4812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1448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EF7BBB1-2720-C07C-88B2-E52D8771A158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0" y="0"/>
            <a:chExt cx="9902977" cy="5570424"/>
          </a:xfrm>
        </p:grpSpPr>
        <p:pic>
          <p:nvPicPr>
            <p:cNvPr id="3" name="Grafik 4">
              <a:extLst>
                <a:ext uri="{FF2B5EF4-FFF2-40B4-BE49-F238E27FC236}">
                  <a16:creationId xmlns:a16="http://schemas.microsoft.com/office/drawing/2014/main" id="{3D1EDC62-7D7E-8257-1C9A-BC13B7382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18774"/>
            <a:stretch/>
          </p:blipFill>
          <p:spPr>
            <a:xfrm>
              <a:off x="0" y="0"/>
              <a:ext cx="9902977" cy="5570424"/>
            </a:xfrm>
            <a:prstGeom prst="rect">
              <a:avLst/>
            </a:prstGeom>
          </p:spPr>
        </p:pic>
        <p:pic>
          <p:nvPicPr>
            <p:cNvPr id="4" name="Grafik 4">
              <a:extLst>
                <a:ext uri="{FF2B5EF4-FFF2-40B4-BE49-F238E27FC236}">
                  <a16:creationId xmlns:a16="http://schemas.microsoft.com/office/drawing/2014/main" id="{AC5DA510-D56B-7D6A-62A4-9AC058C6A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11471" t="34764" r="18277" b="-335"/>
            <a:stretch/>
          </p:blipFill>
          <p:spPr>
            <a:xfrm>
              <a:off x="1337842" y="1917860"/>
              <a:ext cx="8565134" cy="3652564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3B03C43-A3BC-43FA-66F3-D02BD111D7CA}"/>
              </a:ext>
            </a:extLst>
          </p:cNvPr>
          <p:cNvGrpSpPr/>
          <p:nvPr/>
        </p:nvGrpSpPr>
        <p:grpSpPr>
          <a:xfrm>
            <a:off x="-1" y="-23783"/>
            <a:ext cx="12223737" cy="6881783"/>
            <a:chOff x="-1" y="-23783"/>
            <a:chExt cx="12223737" cy="688178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B66D45F-95D1-8833-B25C-EE42E768A9A2}"/>
                </a:ext>
              </a:extLst>
            </p:cNvPr>
            <p:cNvGrpSpPr/>
            <p:nvPr/>
          </p:nvGrpSpPr>
          <p:grpSpPr>
            <a:xfrm>
              <a:off x="-1" y="-23783"/>
              <a:ext cx="12223737" cy="6881783"/>
              <a:chOff x="-1" y="-23783"/>
              <a:chExt cx="12223737" cy="6881783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5F29C55-21BA-0A37-3062-9A1805C194C2}"/>
                  </a:ext>
                </a:extLst>
              </p:cNvPr>
              <p:cNvSpPr/>
              <p:nvPr/>
            </p:nvSpPr>
            <p:spPr>
              <a:xfrm>
                <a:off x="-1" y="-23783"/>
                <a:ext cx="12223737" cy="1482193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AB61D1C-6568-2D2A-20D8-537BC6D1DEBF}"/>
                  </a:ext>
                </a:extLst>
              </p:cNvPr>
              <p:cNvSpPr/>
              <p:nvPr/>
            </p:nvSpPr>
            <p:spPr>
              <a:xfrm>
                <a:off x="81651" y="1934363"/>
                <a:ext cx="12110348" cy="4923637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E1E133B-10B8-D3CD-FE66-8D5A8203BB43}"/>
                </a:ext>
              </a:extLst>
            </p:cNvPr>
            <p:cNvSpPr/>
            <p:nvPr/>
          </p:nvSpPr>
          <p:spPr>
            <a:xfrm>
              <a:off x="7176304" y="1458410"/>
              <a:ext cx="5015694" cy="475953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7EF3BF-E8AA-8384-676B-CCAA648A1CC8}"/>
              </a:ext>
            </a:extLst>
          </p:cNvPr>
          <p:cNvGrpSpPr/>
          <p:nvPr/>
        </p:nvGrpSpPr>
        <p:grpSpPr>
          <a:xfrm>
            <a:off x="49288" y="1365812"/>
            <a:ext cx="7451109" cy="568551"/>
            <a:chOff x="2988" y="1365812"/>
            <a:chExt cx="7451109" cy="56855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4372FAB-6443-7D5F-B759-1ABF37F39996}"/>
                </a:ext>
              </a:extLst>
            </p:cNvPr>
            <p:cNvSpPr/>
            <p:nvPr/>
          </p:nvSpPr>
          <p:spPr>
            <a:xfrm>
              <a:off x="2988" y="1365812"/>
              <a:ext cx="7451109" cy="568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10306C6-0292-C75B-D86E-520E6A9C1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313" y="1416253"/>
              <a:ext cx="7426457" cy="457383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41173EE-1EB7-BF34-7750-2363162E793E}"/>
              </a:ext>
            </a:extLst>
          </p:cNvPr>
          <p:cNvGrpSpPr/>
          <p:nvPr/>
        </p:nvGrpSpPr>
        <p:grpSpPr>
          <a:xfrm>
            <a:off x="3342368" y="1551008"/>
            <a:ext cx="4347317" cy="1405050"/>
            <a:chOff x="4829838" y="-79169"/>
            <a:chExt cx="4347317" cy="1405050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7AB5F75-9D74-1E3E-5861-D7F672C9DD1E}"/>
                </a:ext>
              </a:extLst>
            </p:cNvPr>
            <p:cNvSpPr/>
            <p:nvPr/>
          </p:nvSpPr>
          <p:spPr>
            <a:xfrm>
              <a:off x="5764023" y="768162"/>
              <a:ext cx="3413132" cy="55771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Auswahl der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Bankkonten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AED1DE8-DABC-A941-36D9-9E7B7DF4967E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15290BA-E613-81B5-33BA-6D7AE23D593B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6165A3F-486C-C0D4-B7C0-E39520D968A4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64733" y="3363"/>
                      <a:pt x="1113232" y="283371"/>
                      <a:pt x="1086600" y="574444"/>
                    </a:cubicBezTo>
                    <a:cubicBezTo>
                      <a:pt x="868073" y="584440"/>
                      <a:pt x="700116" y="56357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64759" y="37436"/>
                      <a:pt x="1090059" y="288949"/>
                      <a:pt x="1086600" y="574444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80792" y="69798"/>
                      <a:pt x="1138594" y="261024"/>
                      <a:pt x="1086600" y="574444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9195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4">
            <a:extLst>
              <a:ext uri="{FF2B5EF4-FFF2-40B4-BE49-F238E27FC236}">
                <a16:creationId xmlns:a16="http://schemas.microsoft.com/office/drawing/2014/main" id="{3D1EDC62-7D7E-8257-1C9A-BC13B7382E0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877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9" name="Grafik 4">
            <a:extLst>
              <a:ext uri="{FF2B5EF4-FFF2-40B4-BE49-F238E27FC236}">
                <a16:creationId xmlns:a16="http://schemas.microsoft.com/office/drawing/2014/main" id="{BC2F0E0A-9295-C237-BC13-D42205C903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/>
                    </a14:imgEffect>
                  </a14:imgLayer>
                </a14:imgProps>
              </a:ext>
            </a:extLst>
          </a:blip>
          <a:srcRect l="11471" t="34764" r="18277" b="-335"/>
          <a:stretch/>
        </p:blipFill>
        <p:spPr>
          <a:xfrm>
            <a:off x="1662946" y="2361164"/>
            <a:ext cx="10544922" cy="449683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B66D45F-95D1-8833-B25C-EE42E768A9A2}"/>
              </a:ext>
            </a:extLst>
          </p:cNvPr>
          <p:cNvGrpSpPr/>
          <p:nvPr/>
        </p:nvGrpSpPr>
        <p:grpSpPr>
          <a:xfrm>
            <a:off x="0" y="-23782"/>
            <a:ext cx="12223736" cy="3114224"/>
            <a:chOff x="-1" y="-23783"/>
            <a:chExt cx="12223737" cy="327666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5F29C55-21BA-0A37-3062-9A1805C194C2}"/>
                </a:ext>
              </a:extLst>
            </p:cNvPr>
            <p:cNvSpPr/>
            <p:nvPr/>
          </p:nvSpPr>
          <p:spPr>
            <a:xfrm>
              <a:off x="-1" y="-23783"/>
              <a:ext cx="12223737" cy="1958146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AB61D1C-6568-2D2A-20D8-537BC6D1DEBF}"/>
                </a:ext>
              </a:extLst>
            </p:cNvPr>
            <p:cNvSpPr/>
            <p:nvPr/>
          </p:nvSpPr>
          <p:spPr>
            <a:xfrm>
              <a:off x="1" y="1934364"/>
              <a:ext cx="12223734" cy="1318516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60E2C206-BD43-0940-9F46-DAF250A272EB}"/>
              </a:ext>
            </a:extLst>
          </p:cNvPr>
          <p:cNvSpPr/>
          <p:nvPr/>
        </p:nvSpPr>
        <p:spPr>
          <a:xfrm>
            <a:off x="-2" y="3087000"/>
            <a:ext cx="1647078" cy="3771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8BEB90-7D05-BC18-6FD3-E09FC8C6EEC7}"/>
              </a:ext>
            </a:extLst>
          </p:cNvPr>
          <p:cNvSpPr/>
          <p:nvPr/>
        </p:nvSpPr>
        <p:spPr>
          <a:xfrm>
            <a:off x="8380070" y="3085279"/>
            <a:ext cx="3843665" cy="3771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AD24B5-5B95-424C-B589-14ECE03D4128}"/>
              </a:ext>
            </a:extLst>
          </p:cNvPr>
          <p:cNvSpPr/>
          <p:nvPr/>
        </p:nvSpPr>
        <p:spPr>
          <a:xfrm>
            <a:off x="1647075" y="4972500"/>
            <a:ext cx="6732995" cy="18855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E9AEC8-889E-61D2-CBEA-1E5677798FC1}"/>
              </a:ext>
            </a:extLst>
          </p:cNvPr>
          <p:cNvSpPr/>
          <p:nvPr/>
        </p:nvSpPr>
        <p:spPr>
          <a:xfrm>
            <a:off x="1647075" y="3086684"/>
            <a:ext cx="1987376" cy="18855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41173EE-1EB7-BF34-7750-2363162E793E}"/>
              </a:ext>
            </a:extLst>
          </p:cNvPr>
          <p:cNvGrpSpPr/>
          <p:nvPr/>
        </p:nvGrpSpPr>
        <p:grpSpPr>
          <a:xfrm>
            <a:off x="6638218" y="4706102"/>
            <a:ext cx="4315429" cy="1405050"/>
            <a:chOff x="4829838" y="-79169"/>
            <a:chExt cx="4315429" cy="1405050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7AB5F75-9D74-1E3E-5861-D7F672C9DD1E}"/>
                </a:ext>
              </a:extLst>
            </p:cNvPr>
            <p:cNvSpPr/>
            <p:nvPr/>
          </p:nvSpPr>
          <p:spPr>
            <a:xfrm>
              <a:off x="5764023" y="768162"/>
              <a:ext cx="3381244" cy="55771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ingabe im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xcel-Format</a:t>
              </a: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AED1DE8-DABC-A941-36D9-9E7B7DF4967E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15290BA-E613-81B5-33BA-6D7AE23D593B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6165A3F-486C-C0D4-B7C0-E39520D968A4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74086 w 1086600"/>
                  <a:gd name="connsiteY1" fmla="*/ 451863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74086 w 1086600"/>
                  <a:gd name="connsiteY1" fmla="*/ 451863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78777" y="851"/>
                      <a:pt x="1064816" y="232526"/>
                      <a:pt x="1074086" y="451863"/>
                    </a:cubicBezTo>
                    <a:cubicBezTo>
                      <a:pt x="964650" y="478655"/>
                      <a:pt x="716435" y="48904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08678" y="17484"/>
                      <a:pt x="1022580" y="215522"/>
                      <a:pt x="1074086" y="451863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02911" y="7885"/>
                      <a:pt x="1083234" y="192758"/>
                      <a:pt x="1074086" y="451863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>
                          <a:gd name="adj1" fmla="val 16200000"/>
                          <a:gd name="adj2" fmla="val 20819755"/>
                        </a:avLst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DE4B187-FEA1-F360-1509-DB9DA66317A1}"/>
              </a:ext>
            </a:extLst>
          </p:cNvPr>
          <p:cNvGrpSpPr/>
          <p:nvPr/>
        </p:nvGrpSpPr>
        <p:grpSpPr>
          <a:xfrm>
            <a:off x="3350348" y="2880085"/>
            <a:ext cx="5208955" cy="2391951"/>
            <a:chOff x="2453485" y="2897677"/>
            <a:chExt cx="5208955" cy="239195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4372FAB-6443-7D5F-B759-1ABF37F39996}"/>
                </a:ext>
              </a:extLst>
            </p:cNvPr>
            <p:cNvSpPr/>
            <p:nvPr/>
          </p:nvSpPr>
          <p:spPr>
            <a:xfrm>
              <a:off x="2453485" y="2897677"/>
              <a:ext cx="5208955" cy="23919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B38BC7B-60C3-563F-FBE6-093D877DAC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92065" y="2904586"/>
              <a:ext cx="5170375" cy="23651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918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EF7BBB1-2720-C07C-88B2-E52D8771A158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0" y="0"/>
            <a:chExt cx="9902977" cy="5570424"/>
          </a:xfrm>
        </p:grpSpPr>
        <p:pic>
          <p:nvPicPr>
            <p:cNvPr id="3" name="Grafik 4">
              <a:extLst>
                <a:ext uri="{FF2B5EF4-FFF2-40B4-BE49-F238E27FC236}">
                  <a16:creationId xmlns:a16="http://schemas.microsoft.com/office/drawing/2014/main" id="{3D1EDC62-7D7E-8257-1C9A-BC13B7382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18774"/>
            <a:stretch/>
          </p:blipFill>
          <p:spPr>
            <a:xfrm>
              <a:off x="0" y="0"/>
              <a:ext cx="9902977" cy="5570424"/>
            </a:xfrm>
            <a:prstGeom prst="rect">
              <a:avLst/>
            </a:prstGeom>
          </p:spPr>
        </p:pic>
        <p:pic>
          <p:nvPicPr>
            <p:cNvPr id="4" name="Grafik 4">
              <a:extLst>
                <a:ext uri="{FF2B5EF4-FFF2-40B4-BE49-F238E27FC236}">
                  <a16:creationId xmlns:a16="http://schemas.microsoft.com/office/drawing/2014/main" id="{AC5DA510-D56B-7D6A-62A4-9AC058C6A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11471" t="34764" r="18277" b="-335"/>
            <a:stretch/>
          </p:blipFill>
          <p:spPr>
            <a:xfrm>
              <a:off x="1337842" y="1917860"/>
              <a:ext cx="8565134" cy="3652564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66D45F-95D1-8833-B25C-EE42E768A9A2}"/>
              </a:ext>
            </a:extLst>
          </p:cNvPr>
          <p:cNvGrpSpPr/>
          <p:nvPr/>
        </p:nvGrpSpPr>
        <p:grpSpPr>
          <a:xfrm>
            <a:off x="-1" y="-23783"/>
            <a:ext cx="12223737" cy="6881783"/>
            <a:chOff x="-1" y="-23783"/>
            <a:chExt cx="12223737" cy="688178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5F29C55-21BA-0A37-3062-9A1805C194C2}"/>
                </a:ext>
              </a:extLst>
            </p:cNvPr>
            <p:cNvSpPr/>
            <p:nvPr/>
          </p:nvSpPr>
          <p:spPr>
            <a:xfrm>
              <a:off x="-1" y="-23783"/>
              <a:ext cx="12223737" cy="1958146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AB61D1C-6568-2D2A-20D8-537BC6D1DEBF}"/>
                </a:ext>
              </a:extLst>
            </p:cNvPr>
            <p:cNvSpPr/>
            <p:nvPr/>
          </p:nvSpPr>
          <p:spPr>
            <a:xfrm>
              <a:off x="1" y="1934363"/>
              <a:ext cx="12191998" cy="4923637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64372FAB-6443-7D5F-B759-1ABF37F39996}"/>
              </a:ext>
            </a:extLst>
          </p:cNvPr>
          <p:cNvSpPr/>
          <p:nvPr/>
        </p:nvSpPr>
        <p:spPr>
          <a:xfrm>
            <a:off x="2974694" y="474562"/>
            <a:ext cx="5845215" cy="6261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A6475F-E3B9-681B-E5AF-F0B8F2B47E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9664" y="474562"/>
            <a:ext cx="5667630" cy="6185415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D53A965-A973-808B-077D-EDEBB8365065}"/>
              </a:ext>
            </a:extLst>
          </p:cNvPr>
          <p:cNvSpPr/>
          <p:nvPr/>
        </p:nvSpPr>
        <p:spPr>
          <a:xfrm>
            <a:off x="6789618" y="198023"/>
            <a:ext cx="2046159" cy="557719"/>
          </a:xfrm>
          <a:prstGeom prst="roundRect">
            <a:avLst>
              <a:gd name="adj" fmla="val 50000"/>
            </a:avLst>
          </a:prstGeom>
          <a:solidFill>
            <a:srgbClr val="FFD966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etaileingabe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02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9D8F7A-F558-4DB0-A1EB-D46B50A3CD10}"/>
              </a:ext>
            </a:extLst>
          </p:cNvPr>
          <p:cNvGrpSpPr/>
          <p:nvPr/>
        </p:nvGrpSpPr>
        <p:grpSpPr>
          <a:xfrm>
            <a:off x="-18236" y="-25076"/>
            <a:ext cx="12210236" cy="6883076"/>
            <a:chOff x="-18236" y="-25076"/>
            <a:chExt cx="12210236" cy="688307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2F09170-81BB-FFFD-C105-C95F820475EB}"/>
                </a:ext>
              </a:extLst>
            </p:cNvPr>
            <p:cNvSpPr/>
            <p:nvPr/>
          </p:nvSpPr>
          <p:spPr>
            <a:xfrm>
              <a:off x="0" y="473336"/>
              <a:ext cx="12192000" cy="6384664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6073FC4-6CDC-CC31-BD07-2615FE2EDDD7}"/>
                </a:ext>
              </a:extLst>
            </p:cNvPr>
            <p:cNvSpPr/>
            <p:nvPr/>
          </p:nvSpPr>
          <p:spPr>
            <a:xfrm>
              <a:off x="-18236" y="-25076"/>
              <a:ext cx="2255827" cy="498412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1D2C21-0705-BF17-DB54-D24E29C0F94C}"/>
                </a:ext>
              </a:extLst>
            </p:cNvPr>
            <p:cNvSpPr/>
            <p:nvPr/>
          </p:nvSpPr>
          <p:spPr>
            <a:xfrm>
              <a:off x="5373138" y="-23782"/>
              <a:ext cx="6818862" cy="498412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507DC91-0562-6E7A-5BE2-A52900009EBF}"/>
              </a:ext>
            </a:extLst>
          </p:cNvPr>
          <p:cNvGrpSpPr/>
          <p:nvPr/>
        </p:nvGrpSpPr>
        <p:grpSpPr>
          <a:xfrm>
            <a:off x="4829838" y="-79169"/>
            <a:ext cx="6282811" cy="1489480"/>
            <a:chOff x="4829838" y="-79169"/>
            <a:chExt cx="6282811" cy="148948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00681F4-4CA0-F6AB-C1FE-49F136EEC450}"/>
                </a:ext>
              </a:extLst>
            </p:cNvPr>
            <p:cNvSpPr/>
            <p:nvPr/>
          </p:nvSpPr>
          <p:spPr>
            <a:xfrm>
              <a:off x="5764022" y="768162"/>
              <a:ext cx="5348627" cy="64214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Wiederkehrende</a:t>
              </a: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 </a:t>
              </a:r>
              <a:r>
                <a:rPr kumimoji="0" lang="en-GB" sz="18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Positionen</a:t>
              </a: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 </a:t>
              </a:r>
              <a:r>
                <a: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z.B.</a:t>
              </a: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 </a:t>
              </a:r>
              <a:r>
                <a:rPr kumimoji="0" lang="en-GB" sz="1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Gehälter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3805F00-71CE-A8BE-BCA1-9277FF65CFD2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D7983D5D-0CD6-42D8-9EF3-F71EB66A7614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64733" y="3363"/>
                      <a:pt x="1113232" y="283371"/>
                      <a:pt x="1086600" y="574444"/>
                    </a:cubicBezTo>
                    <a:cubicBezTo>
                      <a:pt x="868073" y="584440"/>
                      <a:pt x="700116" y="56357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64759" y="37436"/>
                      <a:pt x="1090059" y="288949"/>
                      <a:pt x="1086600" y="574444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80792" y="69798"/>
                      <a:pt x="1138594" y="261024"/>
                      <a:pt x="1086600" y="574444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C14D2426-A670-E1BC-8A30-4E9BC9091C1C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51507C6C-0D94-7976-7668-0C2C8CA36AAF}"/>
              </a:ext>
            </a:extLst>
          </p:cNvPr>
          <p:cNvSpPr/>
          <p:nvPr/>
        </p:nvSpPr>
        <p:spPr>
          <a:xfrm>
            <a:off x="2179716" y="0"/>
            <a:ext cx="3237234" cy="5235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3BFF08E-4F2B-8BF4-6E2B-70162B27C0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37588" y="-1"/>
            <a:ext cx="3157217" cy="439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50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9D8F7A-F558-4DB0-A1EB-D46B50A3CD10}"/>
              </a:ext>
            </a:extLst>
          </p:cNvPr>
          <p:cNvGrpSpPr/>
          <p:nvPr/>
        </p:nvGrpSpPr>
        <p:grpSpPr>
          <a:xfrm>
            <a:off x="0" y="0"/>
            <a:ext cx="12210236" cy="6883076"/>
            <a:chOff x="-18236" y="-25076"/>
            <a:chExt cx="12210236" cy="688307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2F09170-81BB-FFFD-C105-C95F820475EB}"/>
                </a:ext>
              </a:extLst>
            </p:cNvPr>
            <p:cNvSpPr/>
            <p:nvPr/>
          </p:nvSpPr>
          <p:spPr>
            <a:xfrm>
              <a:off x="0" y="473336"/>
              <a:ext cx="12192000" cy="6384664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6073FC4-6CDC-CC31-BD07-2615FE2EDDD7}"/>
                </a:ext>
              </a:extLst>
            </p:cNvPr>
            <p:cNvSpPr/>
            <p:nvPr/>
          </p:nvSpPr>
          <p:spPr>
            <a:xfrm>
              <a:off x="-18236" y="-25076"/>
              <a:ext cx="12210236" cy="498412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832A70-EA19-15A3-E1FF-419BAE7F90E1}"/>
              </a:ext>
            </a:extLst>
          </p:cNvPr>
          <p:cNvGrpSpPr/>
          <p:nvPr/>
        </p:nvGrpSpPr>
        <p:grpSpPr>
          <a:xfrm>
            <a:off x="314394" y="1562711"/>
            <a:ext cx="11687105" cy="4985833"/>
            <a:chOff x="329634" y="1620706"/>
            <a:chExt cx="11687105" cy="498583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3E74D56-D553-82D1-BED2-3C64FD47EDF1}"/>
                </a:ext>
              </a:extLst>
            </p:cNvPr>
            <p:cNvSpPr/>
            <p:nvPr/>
          </p:nvSpPr>
          <p:spPr>
            <a:xfrm>
              <a:off x="329634" y="1620706"/>
              <a:ext cx="11687105" cy="4985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8ED66B5-88E0-349D-B45E-FE7DFD8B4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29634" y="1620707"/>
              <a:ext cx="11687105" cy="4905776"/>
            </a:xfrm>
            <a:prstGeom prst="rect">
              <a:avLst/>
            </a:prstGeom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00681F4-4CA0-F6AB-C1FE-49F136EEC450}"/>
              </a:ext>
            </a:extLst>
          </p:cNvPr>
          <p:cNvSpPr/>
          <p:nvPr/>
        </p:nvSpPr>
        <p:spPr>
          <a:xfrm>
            <a:off x="6997306" y="935321"/>
            <a:ext cx="4748621" cy="64214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uster: 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zahlreiche Möglichkeiten für individuelle Wiederholungsmuster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5959AB-CAEF-4199-0792-AAF2FEF3C9F5}"/>
              </a:ext>
            </a:extLst>
          </p:cNvPr>
          <p:cNvGrpSpPr/>
          <p:nvPr/>
        </p:nvGrpSpPr>
        <p:grpSpPr>
          <a:xfrm rot="9938415" flipH="1">
            <a:off x="6138666" y="940024"/>
            <a:ext cx="1086600" cy="1495017"/>
            <a:chOff x="4829838" y="-79169"/>
            <a:chExt cx="1086600" cy="1495017"/>
          </a:xfrm>
        </p:grpSpPr>
        <p:sp>
          <p:nvSpPr>
            <p:cNvPr id="19" name="Arc 18">
              <a:extLst>
                <a:ext uri="{FF2B5EF4-FFF2-40B4-BE49-F238E27FC236}">
                  <a16:creationId xmlns:a16="http://schemas.microsoft.com/office/drawing/2014/main" id="{FD942C25-CFDC-E0B2-F70D-3CE8BA630E37}"/>
                </a:ext>
              </a:extLst>
            </p:cNvPr>
            <p:cNvSpPr/>
            <p:nvPr/>
          </p:nvSpPr>
          <p:spPr>
            <a:xfrm rot="10206325">
              <a:off x="4829838" y="-79169"/>
              <a:ext cx="1086600" cy="1148888"/>
            </a:xfrm>
            <a:custGeom>
              <a:avLst/>
              <a:gdLst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  <a:gd name="connsiteX2" fmla="*/ 543300 w 1086600"/>
                <a:gd name="connsiteY2" fmla="*/ 574444 h 1148888"/>
                <a:gd name="connsiteX3" fmla="*/ 543300 w 1086600"/>
                <a:gd name="connsiteY3" fmla="*/ 0 h 1148888"/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600" h="1148888" stroke="0" extrusionOk="0">
                  <a:moveTo>
                    <a:pt x="543300" y="0"/>
                  </a:moveTo>
                  <a:cubicBezTo>
                    <a:pt x="764733" y="3363"/>
                    <a:pt x="1113232" y="283371"/>
                    <a:pt x="1086600" y="574444"/>
                  </a:cubicBezTo>
                  <a:cubicBezTo>
                    <a:pt x="868073" y="584440"/>
                    <a:pt x="700116" y="563573"/>
                    <a:pt x="543300" y="574444"/>
                  </a:cubicBezTo>
                  <a:cubicBezTo>
                    <a:pt x="538307" y="414028"/>
                    <a:pt x="546070" y="258690"/>
                    <a:pt x="543300" y="0"/>
                  </a:cubicBezTo>
                  <a:close/>
                </a:path>
                <a:path w="1086600" h="1148888" fill="none" extrusionOk="0">
                  <a:moveTo>
                    <a:pt x="543300" y="0"/>
                  </a:moveTo>
                  <a:cubicBezTo>
                    <a:pt x="864759" y="37436"/>
                    <a:pt x="1090059" y="288949"/>
                    <a:pt x="1086600" y="574444"/>
                  </a:cubicBezTo>
                </a:path>
                <a:path w="1086600" h="1148888" fill="none" stroke="0" extrusionOk="0">
                  <a:moveTo>
                    <a:pt x="543300" y="0"/>
                  </a:moveTo>
                  <a:cubicBezTo>
                    <a:pt x="880792" y="69798"/>
                    <a:pt x="1138594" y="261024"/>
                    <a:pt x="1086600" y="574444"/>
                  </a:cubicBezTo>
                </a:path>
              </a:pathLst>
            </a:custGeom>
            <a:ln w="38100">
              <a:solidFill>
                <a:srgbClr val="3D3D3D"/>
              </a:solidFill>
              <a:extLst>
                <a:ext uri="{C807C97D-BFC1-408E-A445-0C87EB9F89A2}">
                  <ask:lineSketchStyleProps xmlns:ask="http://schemas.microsoft.com/office/drawing/2018/sketchyshapes" sd="2650216993">
                    <a:prstGeom prst="arc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B03B91D-6023-6200-CB71-3D7244DC0F99}"/>
                </a:ext>
              </a:extLst>
            </p:cNvPr>
            <p:cNvSpPr txBox="1"/>
            <p:nvPr/>
          </p:nvSpPr>
          <p:spPr>
            <a:xfrm rot="10282997">
              <a:off x="5333556" y="784906"/>
              <a:ext cx="385042" cy="6309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rPr>
                <a:t>&gt;</a:t>
              </a:r>
              <a:endParaRPr kumimoji="0" lang="en-AT" sz="3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veat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8948A72F-9462-69CF-987F-8F430BEE5551}"/>
              </a:ext>
            </a:extLst>
          </p:cNvPr>
          <p:cNvSpPr/>
          <p:nvPr/>
        </p:nvSpPr>
        <p:spPr>
          <a:xfrm>
            <a:off x="6019799" y="2014378"/>
            <a:ext cx="5283633" cy="3197701"/>
          </a:xfrm>
          <a:prstGeom prst="rect">
            <a:avLst/>
          </a:prstGeom>
          <a:noFill/>
          <a:ln w="57150">
            <a:solidFill>
              <a:srgbClr val="F0CF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18516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ED0AF33-116C-319A-3797-E291EC20F55E}"/>
              </a:ext>
            </a:extLst>
          </p:cNvPr>
          <p:cNvSpPr/>
          <p:nvPr/>
        </p:nvSpPr>
        <p:spPr>
          <a:xfrm>
            <a:off x="10500852" y="13503"/>
            <a:ext cx="1022555" cy="4781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4F54829-2B2E-179A-D772-9E659D3CD546}"/>
              </a:ext>
            </a:extLst>
          </p:cNvPr>
          <p:cNvGrpSpPr/>
          <p:nvPr/>
        </p:nvGrpSpPr>
        <p:grpSpPr>
          <a:xfrm>
            <a:off x="4214931" y="67570"/>
            <a:ext cx="8106319" cy="6543503"/>
            <a:chOff x="4062531" y="-84830"/>
            <a:chExt cx="8106319" cy="654350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A4A75F5-AA70-9888-15B9-E7826D50D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86266" r="6455" b="93808"/>
            <a:stretch/>
          </p:blipFill>
          <p:spPr>
            <a:xfrm>
              <a:off x="10373032" y="-84830"/>
              <a:ext cx="973394" cy="44938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72FE05F-1FC4-5D4D-B1C7-F2171A99D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E59D721-FE6A-9C1E-A7B2-0BD005A4746C}"/>
              </a:ext>
            </a:extLst>
          </p:cNvPr>
          <p:cNvSpPr/>
          <p:nvPr/>
        </p:nvSpPr>
        <p:spPr>
          <a:xfrm>
            <a:off x="8883861" y="796729"/>
            <a:ext cx="1423434" cy="557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ericht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7789017-48EF-D8C4-49B0-05B0A109CF58}"/>
              </a:ext>
            </a:extLst>
          </p:cNvPr>
          <p:cNvGrpSpPr/>
          <p:nvPr/>
        </p:nvGrpSpPr>
        <p:grpSpPr>
          <a:xfrm flipH="1">
            <a:off x="10154548" y="-49219"/>
            <a:ext cx="1086600" cy="1495017"/>
            <a:chOff x="4829838" y="-79169"/>
            <a:chExt cx="1086600" cy="1495017"/>
          </a:xfrm>
        </p:grpSpPr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71F0AE46-EAD0-863A-1963-75C7480FF6F3}"/>
                </a:ext>
              </a:extLst>
            </p:cNvPr>
            <p:cNvSpPr/>
            <p:nvPr/>
          </p:nvSpPr>
          <p:spPr>
            <a:xfrm rot="10206325">
              <a:off x="4829838" y="-79169"/>
              <a:ext cx="1086600" cy="1148888"/>
            </a:xfrm>
            <a:custGeom>
              <a:avLst/>
              <a:gdLst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  <a:gd name="connsiteX2" fmla="*/ 543300 w 1086600"/>
                <a:gd name="connsiteY2" fmla="*/ 574444 h 1148888"/>
                <a:gd name="connsiteX3" fmla="*/ 543300 w 1086600"/>
                <a:gd name="connsiteY3" fmla="*/ 0 h 1148888"/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600" h="1148888" stroke="0" extrusionOk="0">
                  <a:moveTo>
                    <a:pt x="543300" y="0"/>
                  </a:moveTo>
                  <a:cubicBezTo>
                    <a:pt x="764733" y="3363"/>
                    <a:pt x="1113232" y="283371"/>
                    <a:pt x="1086600" y="574444"/>
                  </a:cubicBezTo>
                  <a:cubicBezTo>
                    <a:pt x="868073" y="584440"/>
                    <a:pt x="700116" y="563573"/>
                    <a:pt x="543300" y="574444"/>
                  </a:cubicBezTo>
                  <a:cubicBezTo>
                    <a:pt x="538307" y="414028"/>
                    <a:pt x="546070" y="258690"/>
                    <a:pt x="543300" y="0"/>
                  </a:cubicBezTo>
                  <a:close/>
                </a:path>
                <a:path w="1086600" h="1148888" fill="none" extrusionOk="0">
                  <a:moveTo>
                    <a:pt x="543300" y="0"/>
                  </a:moveTo>
                  <a:cubicBezTo>
                    <a:pt x="864759" y="37436"/>
                    <a:pt x="1090059" y="288949"/>
                    <a:pt x="1086600" y="574444"/>
                  </a:cubicBezTo>
                </a:path>
                <a:path w="1086600" h="1148888" fill="none" stroke="0" extrusionOk="0">
                  <a:moveTo>
                    <a:pt x="543300" y="0"/>
                  </a:moveTo>
                  <a:cubicBezTo>
                    <a:pt x="880792" y="69798"/>
                    <a:pt x="1138594" y="261024"/>
                    <a:pt x="1086600" y="574444"/>
                  </a:cubicBezTo>
                </a:path>
              </a:pathLst>
            </a:custGeom>
            <a:ln w="38100">
              <a:solidFill>
                <a:srgbClr val="3D3D3D"/>
              </a:solidFill>
              <a:extLst>
                <a:ext uri="{C807C97D-BFC1-408E-A445-0C87EB9F89A2}">
                  <ask:lineSketchStyleProps xmlns:ask="http://schemas.microsoft.com/office/drawing/2018/sketchyshapes" sd="2650216993">
                    <a:prstGeom prst="arc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EF47254-93C6-C6BE-CF03-A3B632ADFEFC}"/>
                </a:ext>
              </a:extLst>
            </p:cNvPr>
            <p:cNvSpPr txBox="1"/>
            <p:nvPr/>
          </p:nvSpPr>
          <p:spPr>
            <a:xfrm rot="10282997">
              <a:off x="5333556" y="784906"/>
              <a:ext cx="385042" cy="6309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rPr>
                <a:t>&gt;</a:t>
              </a:r>
              <a:endParaRPr kumimoji="0" lang="en-AT" sz="3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veat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045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F10FEB6-3FA7-BFB8-22A2-ABB66AEF4B96}"/>
              </a:ext>
            </a:extLst>
          </p:cNvPr>
          <p:cNvGrpSpPr/>
          <p:nvPr/>
        </p:nvGrpSpPr>
        <p:grpSpPr>
          <a:xfrm>
            <a:off x="0" y="-23783"/>
            <a:ext cx="12217032" cy="6892390"/>
            <a:chOff x="0" y="-23783"/>
            <a:chExt cx="12217032" cy="689239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C9D8F7A-F558-4DB0-A1EB-D46B50A3CD10}"/>
                </a:ext>
              </a:extLst>
            </p:cNvPr>
            <p:cNvGrpSpPr/>
            <p:nvPr/>
          </p:nvGrpSpPr>
          <p:grpSpPr>
            <a:xfrm>
              <a:off x="0" y="-23783"/>
              <a:ext cx="12217032" cy="6892390"/>
              <a:chOff x="0" y="-23783"/>
              <a:chExt cx="12217032" cy="689239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B1D2C21-0705-BF17-DB54-D24E29C0F94C}"/>
                  </a:ext>
                </a:extLst>
              </p:cNvPr>
              <p:cNvSpPr/>
              <p:nvPr/>
            </p:nvSpPr>
            <p:spPr>
              <a:xfrm>
                <a:off x="0" y="-23783"/>
                <a:ext cx="12192000" cy="1532853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92F09170-81BB-FFFD-C105-C95F820475EB}"/>
                  </a:ext>
                </a:extLst>
              </p:cNvPr>
              <p:cNvSpPr/>
              <p:nvPr/>
            </p:nvSpPr>
            <p:spPr>
              <a:xfrm>
                <a:off x="2079743" y="1861073"/>
                <a:ext cx="10137289" cy="4996927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B6073FC4-6CDC-CC31-BD07-2615FE2EDDD7}"/>
                  </a:ext>
                </a:extLst>
              </p:cNvPr>
              <p:cNvSpPr/>
              <p:nvPr/>
            </p:nvSpPr>
            <p:spPr>
              <a:xfrm>
                <a:off x="0" y="3930565"/>
                <a:ext cx="2079743" cy="2938042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1BCF89B-FCE6-519E-5A96-4C4EC0470188}"/>
                </a:ext>
              </a:extLst>
            </p:cNvPr>
            <p:cNvSpPr/>
            <p:nvPr/>
          </p:nvSpPr>
          <p:spPr>
            <a:xfrm>
              <a:off x="6095456" y="1509070"/>
              <a:ext cx="6096544" cy="352002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507DC91-0562-6E7A-5BE2-A52900009EBF}"/>
              </a:ext>
            </a:extLst>
          </p:cNvPr>
          <p:cNvGrpSpPr/>
          <p:nvPr/>
        </p:nvGrpSpPr>
        <p:grpSpPr>
          <a:xfrm>
            <a:off x="1647773" y="3329032"/>
            <a:ext cx="5936369" cy="1662300"/>
            <a:chOff x="4829838" y="-79169"/>
            <a:chExt cx="5936369" cy="16623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00681F4-4CA0-F6AB-C1FE-49F136EEC450}"/>
                </a:ext>
              </a:extLst>
            </p:cNvPr>
            <p:cNvSpPr/>
            <p:nvPr/>
          </p:nvSpPr>
          <p:spPr>
            <a:xfrm>
              <a:off x="5764022" y="768162"/>
              <a:ext cx="5002185" cy="81496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Ansichten &amp; Filter: </a:t>
              </a: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Gruppensicht oder nach Einzelgesellschaften/Ländern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3805F00-71CE-A8BE-BCA1-9277FF65CFD2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D7983D5D-0CD6-42D8-9EF3-F71EB66A7614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64733" y="3363"/>
                      <a:pt x="1113232" y="283371"/>
                      <a:pt x="1086600" y="574444"/>
                    </a:cubicBezTo>
                    <a:cubicBezTo>
                      <a:pt x="868073" y="584440"/>
                      <a:pt x="700116" y="56357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64759" y="37436"/>
                      <a:pt x="1090059" y="288949"/>
                      <a:pt x="1086600" y="574444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80792" y="69798"/>
                      <a:pt x="1138594" y="261024"/>
                      <a:pt x="1086600" y="574444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C14D2426-A670-E1BC-8A30-4E9BC9091C1C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D4D50462-4A35-950C-7EE7-8546BF0D9574}"/>
              </a:ext>
            </a:extLst>
          </p:cNvPr>
          <p:cNvSpPr/>
          <p:nvPr/>
        </p:nvSpPr>
        <p:spPr>
          <a:xfrm>
            <a:off x="-13322" y="1423276"/>
            <a:ext cx="6108777" cy="2496682"/>
          </a:xfrm>
          <a:custGeom>
            <a:avLst/>
            <a:gdLst>
              <a:gd name="connsiteX0" fmla="*/ 0 w 6108777"/>
              <a:gd name="connsiteY0" fmla="*/ 0 h 2496682"/>
              <a:gd name="connsiteX1" fmla="*/ 6108777 w 6108777"/>
              <a:gd name="connsiteY1" fmla="*/ 0 h 2496682"/>
              <a:gd name="connsiteX2" fmla="*/ 6108777 w 6108777"/>
              <a:gd name="connsiteY2" fmla="*/ 523591 h 2496682"/>
              <a:gd name="connsiteX3" fmla="*/ 2133223 w 6108777"/>
              <a:gd name="connsiteY3" fmla="*/ 523591 h 2496682"/>
              <a:gd name="connsiteX4" fmla="*/ 2133223 w 6108777"/>
              <a:gd name="connsiteY4" fmla="*/ 2496682 h 2496682"/>
              <a:gd name="connsiteX5" fmla="*/ 1 w 6108777"/>
              <a:gd name="connsiteY5" fmla="*/ 2496682 h 2496682"/>
              <a:gd name="connsiteX6" fmla="*/ 1 w 6108777"/>
              <a:gd name="connsiteY6" fmla="*/ 523591 h 2496682"/>
              <a:gd name="connsiteX7" fmla="*/ 0 w 6108777"/>
              <a:gd name="connsiteY7" fmla="*/ 523591 h 2496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08777" h="2496682">
                <a:moveTo>
                  <a:pt x="0" y="0"/>
                </a:moveTo>
                <a:lnTo>
                  <a:pt x="6108777" y="0"/>
                </a:lnTo>
                <a:lnTo>
                  <a:pt x="6108777" y="523591"/>
                </a:lnTo>
                <a:lnTo>
                  <a:pt x="2133223" y="523591"/>
                </a:lnTo>
                <a:lnTo>
                  <a:pt x="2133223" y="2496682"/>
                </a:lnTo>
                <a:lnTo>
                  <a:pt x="1" y="2496682"/>
                </a:lnTo>
                <a:lnTo>
                  <a:pt x="1" y="523591"/>
                </a:lnTo>
                <a:lnTo>
                  <a:pt x="0" y="5235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4A80303-D6B6-8544-83EB-6920C838AB7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456" b="18376"/>
          <a:stretch/>
        </p:blipFill>
        <p:spPr>
          <a:xfrm>
            <a:off x="36471" y="1510404"/>
            <a:ext cx="6033953" cy="25507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6FA14EC-983D-568E-ED1F-1576A4C9BB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90" y="1816727"/>
            <a:ext cx="2027174" cy="201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1667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9D8F7A-F558-4DB0-A1EB-D46B50A3CD10}"/>
              </a:ext>
            </a:extLst>
          </p:cNvPr>
          <p:cNvGrpSpPr/>
          <p:nvPr/>
        </p:nvGrpSpPr>
        <p:grpSpPr>
          <a:xfrm>
            <a:off x="-1" y="-23783"/>
            <a:ext cx="12223737" cy="6892390"/>
            <a:chOff x="0" y="-23783"/>
            <a:chExt cx="12130971" cy="689239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1D2C21-0705-BF17-DB54-D24E29C0F94C}"/>
                </a:ext>
              </a:extLst>
            </p:cNvPr>
            <p:cNvSpPr/>
            <p:nvPr/>
          </p:nvSpPr>
          <p:spPr>
            <a:xfrm>
              <a:off x="0" y="-23783"/>
              <a:ext cx="12130971" cy="4671233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2F09170-81BB-FFFD-C105-C95F820475EB}"/>
                </a:ext>
              </a:extLst>
            </p:cNvPr>
            <p:cNvSpPr/>
            <p:nvPr/>
          </p:nvSpPr>
          <p:spPr>
            <a:xfrm>
              <a:off x="4031701" y="4647451"/>
              <a:ext cx="8099269" cy="2199939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6073FC4-6CDC-CC31-BD07-2615FE2EDDD7}"/>
                </a:ext>
              </a:extLst>
            </p:cNvPr>
            <p:cNvSpPr/>
            <p:nvPr/>
          </p:nvSpPr>
          <p:spPr>
            <a:xfrm>
              <a:off x="0" y="4647451"/>
              <a:ext cx="2079743" cy="2221156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CC1041E2-CAA5-8F4A-9CE6-9C6D800B3817}"/>
              </a:ext>
            </a:extLst>
          </p:cNvPr>
          <p:cNvSpPr/>
          <p:nvPr/>
        </p:nvSpPr>
        <p:spPr>
          <a:xfrm>
            <a:off x="2092504" y="5438386"/>
            <a:ext cx="1966885" cy="142576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507DC91-0562-6E7A-5BE2-A52900009EBF}"/>
              </a:ext>
            </a:extLst>
          </p:cNvPr>
          <p:cNvGrpSpPr/>
          <p:nvPr/>
        </p:nvGrpSpPr>
        <p:grpSpPr>
          <a:xfrm>
            <a:off x="3568938" y="4837735"/>
            <a:ext cx="6876737" cy="1405050"/>
            <a:chOff x="4829838" y="-79169"/>
            <a:chExt cx="6876737" cy="140505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00681F4-4CA0-F6AB-C1FE-49F136EEC450}"/>
                </a:ext>
              </a:extLst>
            </p:cNvPr>
            <p:cNvSpPr/>
            <p:nvPr/>
          </p:nvSpPr>
          <p:spPr>
            <a:xfrm>
              <a:off x="5764022" y="768162"/>
              <a:ext cx="5942553" cy="55771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Cashflows </a:t>
              </a: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auf Gesellschafts- und Kontenebene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3805F00-71CE-A8BE-BCA1-9277FF65CFD2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C14D2426-A670-E1BC-8A30-4E9BC9091C1C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D7983D5D-0CD6-42D8-9EF3-F71EB66A7614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64733" y="3363"/>
                      <a:pt x="1113232" y="283371"/>
                      <a:pt x="1086600" y="574444"/>
                    </a:cubicBezTo>
                    <a:cubicBezTo>
                      <a:pt x="868073" y="584440"/>
                      <a:pt x="700116" y="56357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64759" y="37436"/>
                      <a:pt x="1090059" y="288949"/>
                      <a:pt x="1086600" y="574444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80792" y="69798"/>
                      <a:pt x="1138594" y="261024"/>
                      <a:pt x="1086600" y="574444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0F82B7DD-27B9-149A-E5CA-A1D7CD6538D8}"/>
              </a:ext>
            </a:extLst>
          </p:cNvPr>
          <p:cNvSpPr/>
          <p:nvPr/>
        </p:nvSpPr>
        <p:spPr>
          <a:xfrm>
            <a:off x="1983976" y="4546757"/>
            <a:ext cx="2183940" cy="92137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0E940BD-FC18-6116-81BB-D2E33B81DD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3974" y="4573230"/>
            <a:ext cx="2182003" cy="85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8291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116C422-F259-86F7-CDC9-0CD25FB92FD8}"/>
              </a:ext>
            </a:extLst>
          </p:cNvPr>
          <p:cNvGrpSpPr/>
          <p:nvPr/>
        </p:nvGrpSpPr>
        <p:grpSpPr>
          <a:xfrm>
            <a:off x="-1" y="-23783"/>
            <a:ext cx="12223737" cy="6892391"/>
            <a:chOff x="-1" y="-23783"/>
            <a:chExt cx="12223737" cy="689239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C9D8F7A-F558-4DB0-A1EB-D46B50A3CD10}"/>
                </a:ext>
              </a:extLst>
            </p:cNvPr>
            <p:cNvGrpSpPr/>
            <p:nvPr/>
          </p:nvGrpSpPr>
          <p:grpSpPr>
            <a:xfrm>
              <a:off x="-1" y="-23783"/>
              <a:ext cx="12223737" cy="6892391"/>
              <a:chOff x="0" y="-23783"/>
              <a:chExt cx="12130971" cy="6892391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B1D2C21-0705-BF17-DB54-D24E29C0F94C}"/>
                  </a:ext>
                </a:extLst>
              </p:cNvPr>
              <p:cNvSpPr/>
              <p:nvPr/>
            </p:nvSpPr>
            <p:spPr>
              <a:xfrm>
                <a:off x="0" y="-23783"/>
                <a:ext cx="12130971" cy="2535842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92F09170-81BB-FFFD-C105-C95F820475EB}"/>
                  </a:ext>
                </a:extLst>
              </p:cNvPr>
              <p:cNvSpPr/>
              <p:nvPr/>
            </p:nvSpPr>
            <p:spPr>
              <a:xfrm>
                <a:off x="2079743" y="5537866"/>
                <a:ext cx="10051227" cy="1309524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B6073FC4-6CDC-CC31-BD07-2615FE2EDDD7}"/>
                  </a:ext>
                </a:extLst>
              </p:cNvPr>
              <p:cNvSpPr/>
              <p:nvPr/>
            </p:nvSpPr>
            <p:spPr>
              <a:xfrm>
                <a:off x="0" y="2512060"/>
                <a:ext cx="2079743" cy="4356548"/>
              </a:xfrm>
              <a:prstGeom prst="rect">
                <a:avLst/>
              </a:prstGeom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313511D-4D6E-2BDB-A53D-92E81D910A89}"/>
                </a:ext>
              </a:extLst>
            </p:cNvPr>
            <p:cNvSpPr/>
            <p:nvPr/>
          </p:nvSpPr>
          <p:spPr>
            <a:xfrm>
              <a:off x="2095646" y="2536247"/>
              <a:ext cx="10125663" cy="2124097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9F9DE9D-115E-C262-5E51-1C69EE402227}"/>
                </a:ext>
              </a:extLst>
            </p:cNvPr>
            <p:cNvSpPr/>
            <p:nvPr/>
          </p:nvSpPr>
          <p:spPr>
            <a:xfrm>
              <a:off x="7100043" y="4660344"/>
              <a:ext cx="5091957" cy="877523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D30AFC5-5891-CEBD-3F95-1F596647D0BA}"/>
                </a:ext>
              </a:extLst>
            </p:cNvPr>
            <p:cNvSpPr/>
            <p:nvPr/>
          </p:nvSpPr>
          <p:spPr>
            <a:xfrm>
              <a:off x="2095647" y="4650359"/>
              <a:ext cx="2616736" cy="887506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EEA4923-D66A-1B0B-0136-4581F63D67FE}"/>
              </a:ext>
            </a:extLst>
          </p:cNvPr>
          <p:cNvGrpSpPr/>
          <p:nvPr/>
        </p:nvGrpSpPr>
        <p:grpSpPr>
          <a:xfrm>
            <a:off x="6259188" y="5038048"/>
            <a:ext cx="5094935" cy="1405050"/>
            <a:chOff x="4829838" y="-79169"/>
            <a:chExt cx="5094935" cy="1405050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36A14FCD-554C-DFB1-08D5-E48DD9C2E633}"/>
                </a:ext>
              </a:extLst>
            </p:cNvPr>
            <p:cNvSpPr/>
            <p:nvPr/>
          </p:nvSpPr>
          <p:spPr>
            <a:xfrm>
              <a:off x="5764023" y="768162"/>
              <a:ext cx="4160750" cy="55771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insicht in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inzeltransaktionen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F958AE9-861E-2B26-ABA4-518FDC1394C6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8CC0F46F-7618-F3A6-D90C-2B55A89730A5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8" name="Arc 27">
                <a:extLst>
                  <a:ext uri="{FF2B5EF4-FFF2-40B4-BE49-F238E27FC236}">
                    <a16:creationId xmlns:a16="http://schemas.microsoft.com/office/drawing/2014/main" id="{149A3CC6-8B4E-81FA-6C8C-1AEBBC5B24AB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86600 w 1086600"/>
                  <a:gd name="connsiteY1" fmla="*/ 574444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64733" y="3363"/>
                      <a:pt x="1113232" y="283371"/>
                      <a:pt x="1086600" y="574444"/>
                    </a:cubicBezTo>
                    <a:cubicBezTo>
                      <a:pt x="868073" y="584440"/>
                      <a:pt x="700116" y="56357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64759" y="37436"/>
                      <a:pt x="1090059" y="288949"/>
                      <a:pt x="1086600" y="574444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80792" y="69798"/>
                      <a:pt x="1138594" y="261024"/>
                      <a:pt x="1086600" y="574444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9790C93C-1B26-4438-E180-9FAB2094E182}"/>
              </a:ext>
            </a:extLst>
          </p:cNvPr>
          <p:cNvSpPr/>
          <p:nvPr/>
        </p:nvSpPr>
        <p:spPr>
          <a:xfrm>
            <a:off x="4707203" y="4562479"/>
            <a:ext cx="2729213" cy="10566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2534DB9-D89B-3E3A-14F1-19557EFF46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7203" y="4621809"/>
            <a:ext cx="2690034" cy="94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904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 suit&#10;&#10;Description automatically generated">
            <a:extLst>
              <a:ext uri="{FF2B5EF4-FFF2-40B4-BE49-F238E27FC236}">
                <a16:creationId xmlns:a16="http://schemas.microsoft.com/office/drawing/2014/main" id="{C0A29937-63CE-3119-8BD2-947797811D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94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9D8F7A-F558-4DB0-A1EB-D46B50A3CD10}"/>
              </a:ext>
            </a:extLst>
          </p:cNvPr>
          <p:cNvGrpSpPr/>
          <p:nvPr/>
        </p:nvGrpSpPr>
        <p:grpSpPr>
          <a:xfrm>
            <a:off x="-1" y="-23783"/>
            <a:ext cx="12223737" cy="6892390"/>
            <a:chOff x="0" y="-23783"/>
            <a:chExt cx="12130971" cy="689239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1D2C21-0705-BF17-DB54-D24E29C0F94C}"/>
                </a:ext>
              </a:extLst>
            </p:cNvPr>
            <p:cNvSpPr/>
            <p:nvPr/>
          </p:nvSpPr>
          <p:spPr>
            <a:xfrm>
              <a:off x="0" y="-23783"/>
              <a:ext cx="12130971" cy="2303991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2F09170-81BB-FFFD-C105-C95F820475EB}"/>
                </a:ext>
              </a:extLst>
            </p:cNvPr>
            <p:cNvSpPr/>
            <p:nvPr/>
          </p:nvSpPr>
          <p:spPr>
            <a:xfrm>
              <a:off x="2079743" y="2522139"/>
              <a:ext cx="10051227" cy="4325251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6073FC4-6CDC-CC31-BD07-2615FE2EDDD7}"/>
                </a:ext>
              </a:extLst>
            </p:cNvPr>
            <p:cNvSpPr/>
            <p:nvPr/>
          </p:nvSpPr>
          <p:spPr>
            <a:xfrm>
              <a:off x="0" y="2280208"/>
              <a:ext cx="2079743" cy="4588399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00681F4-4CA0-F6AB-C1FE-49F136EEC450}"/>
              </a:ext>
            </a:extLst>
          </p:cNvPr>
          <p:cNvSpPr/>
          <p:nvPr/>
        </p:nvSpPr>
        <p:spPr>
          <a:xfrm>
            <a:off x="5518141" y="2878599"/>
            <a:ext cx="4736372" cy="557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90-Tage-Vorschau 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uf Kontenebene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8BEA7A5-56DA-9661-04E1-5DF9FD7F8171}"/>
              </a:ext>
            </a:extLst>
          </p:cNvPr>
          <p:cNvGrpSpPr/>
          <p:nvPr/>
        </p:nvGrpSpPr>
        <p:grpSpPr>
          <a:xfrm flipH="1">
            <a:off x="10331529" y="2057867"/>
            <a:ext cx="1086600" cy="1495017"/>
            <a:chOff x="4829838" y="-79169"/>
            <a:chExt cx="1086600" cy="1495017"/>
          </a:xfrm>
        </p:grpSpPr>
        <p:sp>
          <p:nvSpPr>
            <p:cNvPr id="13" name="Arc 12">
              <a:extLst>
                <a:ext uri="{FF2B5EF4-FFF2-40B4-BE49-F238E27FC236}">
                  <a16:creationId xmlns:a16="http://schemas.microsoft.com/office/drawing/2014/main" id="{904D7F01-34F2-6D7C-4348-B5BBD76C536B}"/>
                </a:ext>
              </a:extLst>
            </p:cNvPr>
            <p:cNvSpPr/>
            <p:nvPr/>
          </p:nvSpPr>
          <p:spPr>
            <a:xfrm rot="10206325">
              <a:off x="4829838" y="-79169"/>
              <a:ext cx="1086600" cy="1148888"/>
            </a:xfrm>
            <a:custGeom>
              <a:avLst/>
              <a:gdLst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  <a:gd name="connsiteX2" fmla="*/ 543300 w 1086600"/>
                <a:gd name="connsiteY2" fmla="*/ 574444 h 1148888"/>
                <a:gd name="connsiteX3" fmla="*/ 543300 w 1086600"/>
                <a:gd name="connsiteY3" fmla="*/ 0 h 1148888"/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600" h="1148888" stroke="0" extrusionOk="0">
                  <a:moveTo>
                    <a:pt x="543300" y="0"/>
                  </a:moveTo>
                  <a:cubicBezTo>
                    <a:pt x="764733" y="3363"/>
                    <a:pt x="1113232" y="283371"/>
                    <a:pt x="1086600" y="574444"/>
                  </a:cubicBezTo>
                  <a:cubicBezTo>
                    <a:pt x="868073" y="584440"/>
                    <a:pt x="700116" y="563573"/>
                    <a:pt x="543300" y="574444"/>
                  </a:cubicBezTo>
                  <a:cubicBezTo>
                    <a:pt x="538307" y="414028"/>
                    <a:pt x="546070" y="258690"/>
                    <a:pt x="543300" y="0"/>
                  </a:cubicBezTo>
                  <a:close/>
                </a:path>
                <a:path w="1086600" h="1148888" fill="none" extrusionOk="0">
                  <a:moveTo>
                    <a:pt x="543300" y="0"/>
                  </a:moveTo>
                  <a:cubicBezTo>
                    <a:pt x="864759" y="37436"/>
                    <a:pt x="1090059" y="288949"/>
                    <a:pt x="1086600" y="574444"/>
                  </a:cubicBezTo>
                </a:path>
                <a:path w="1086600" h="1148888" fill="none" stroke="0" extrusionOk="0">
                  <a:moveTo>
                    <a:pt x="543300" y="0"/>
                  </a:moveTo>
                  <a:cubicBezTo>
                    <a:pt x="880792" y="69798"/>
                    <a:pt x="1138594" y="261024"/>
                    <a:pt x="1086600" y="574444"/>
                  </a:cubicBezTo>
                </a:path>
              </a:pathLst>
            </a:custGeom>
            <a:ln w="38100">
              <a:solidFill>
                <a:srgbClr val="3D3D3D"/>
              </a:solidFill>
              <a:extLst>
                <a:ext uri="{C807C97D-BFC1-408E-A445-0C87EB9F89A2}">
                  <ask:lineSketchStyleProps xmlns:ask="http://schemas.microsoft.com/office/drawing/2018/sketchyshapes" sd="2650216993">
                    <a:prstGeom prst="arc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47B61BC-558E-0E15-72E2-6F7FC99C9ADA}"/>
                </a:ext>
              </a:extLst>
            </p:cNvPr>
            <p:cNvSpPr txBox="1"/>
            <p:nvPr/>
          </p:nvSpPr>
          <p:spPr>
            <a:xfrm rot="10282997">
              <a:off x="5333556" y="784906"/>
              <a:ext cx="385042" cy="6309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rPr>
                <a:t>&gt;</a:t>
              </a:r>
              <a:endParaRPr kumimoji="0" lang="en-AT" sz="3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veat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0EAC8C39-DAA1-B4D1-A743-313BA5D224C9}"/>
              </a:ext>
            </a:extLst>
          </p:cNvPr>
          <p:cNvSpPr/>
          <p:nvPr/>
        </p:nvSpPr>
        <p:spPr>
          <a:xfrm>
            <a:off x="2095645" y="2243807"/>
            <a:ext cx="10128088" cy="270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93948A9-0A37-D72C-C659-1D2BDC0EC19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4346" t="-9594" r="16940" b="-1075"/>
          <a:stretch/>
        </p:blipFill>
        <p:spPr>
          <a:xfrm>
            <a:off x="2095642" y="2222590"/>
            <a:ext cx="10096358" cy="27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826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5CAC1B4-4B86-BD95-D96E-76C1C4C57FB2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Grafik 4">
              <a:extLst>
                <a:ext uri="{FF2B5EF4-FFF2-40B4-BE49-F238E27FC236}">
                  <a16:creationId xmlns:a16="http://schemas.microsoft.com/office/drawing/2014/main" id="{D13DBDCF-A695-B9EB-475A-EB40160A1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22593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2" name="Grafik 4">
              <a:extLst>
                <a:ext uri="{FF2B5EF4-FFF2-40B4-BE49-F238E27FC236}">
                  <a16:creationId xmlns:a16="http://schemas.microsoft.com/office/drawing/2014/main" id="{475FCA86-8BAA-E077-692F-3C5B70CE36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15099" t="25571" r="79422" b="24194"/>
            <a:stretch/>
          </p:blipFill>
          <p:spPr>
            <a:xfrm>
              <a:off x="2416399" y="1753673"/>
              <a:ext cx="862884" cy="3445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86174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4">
            <a:extLst>
              <a:ext uri="{FF2B5EF4-FFF2-40B4-BE49-F238E27FC236}">
                <a16:creationId xmlns:a16="http://schemas.microsoft.com/office/drawing/2014/main" id="{D13DBDCF-A695-B9EB-475A-EB40160A1A4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25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7429100-E82B-C7A0-F610-05CDF14B3E2E}"/>
              </a:ext>
            </a:extLst>
          </p:cNvPr>
          <p:cNvSpPr/>
          <p:nvPr/>
        </p:nvSpPr>
        <p:spPr>
          <a:xfrm>
            <a:off x="1" y="1"/>
            <a:ext cx="12191998" cy="6858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7253D-20FD-7C90-82D1-DAAC068FCA19}"/>
              </a:ext>
            </a:extLst>
          </p:cNvPr>
          <p:cNvSpPr/>
          <p:nvPr/>
        </p:nvSpPr>
        <p:spPr>
          <a:xfrm>
            <a:off x="1562582" y="1435261"/>
            <a:ext cx="10394066" cy="466459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D5FE03-F9BE-F6CB-1BDB-0E61B0FFF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2581" y="1435260"/>
            <a:ext cx="10296390" cy="466459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A4930D-5DFB-937C-9165-4BFC7BCFD445}"/>
              </a:ext>
            </a:extLst>
          </p:cNvPr>
          <p:cNvSpPr/>
          <p:nvPr/>
        </p:nvSpPr>
        <p:spPr>
          <a:xfrm>
            <a:off x="7541972" y="1156398"/>
            <a:ext cx="2771071" cy="557719"/>
          </a:xfrm>
          <a:prstGeom prst="roundRect">
            <a:avLst>
              <a:gd name="adj" fmla="val 50000"/>
            </a:avLst>
          </a:prstGeom>
          <a:solidFill>
            <a:srgbClr val="FFD966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raphische Ansicht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875777-BC31-F80D-E6AD-B5499F587B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/>
                    </a14:imgEffect>
                  </a14:imgLayer>
                </a14:imgProps>
              </a:ext>
            </a:extLst>
          </a:blip>
          <a:srcRect l="1908" t="4216" r="92295" b="22817"/>
          <a:stretch/>
        </p:blipFill>
        <p:spPr>
          <a:xfrm>
            <a:off x="1758950" y="1631950"/>
            <a:ext cx="596900" cy="34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1833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4">
            <a:extLst>
              <a:ext uri="{FF2B5EF4-FFF2-40B4-BE49-F238E27FC236}">
                <a16:creationId xmlns:a16="http://schemas.microsoft.com/office/drawing/2014/main" id="{D13DBDCF-A695-B9EB-475A-EB40160A1A4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25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7429100-E82B-C7A0-F610-05CDF14B3E2E}"/>
              </a:ext>
            </a:extLst>
          </p:cNvPr>
          <p:cNvSpPr/>
          <p:nvPr/>
        </p:nvSpPr>
        <p:spPr>
          <a:xfrm>
            <a:off x="1" y="1"/>
            <a:ext cx="12191998" cy="6858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5589381-91A5-F54F-7AA3-907E21A4754F}"/>
              </a:ext>
            </a:extLst>
          </p:cNvPr>
          <p:cNvSpPr/>
          <p:nvPr/>
        </p:nvSpPr>
        <p:spPr>
          <a:xfrm>
            <a:off x="208345" y="827591"/>
            <a:ext cx="7193215" cy="3975904"/>
          </a:xfrm>
          <a:custGeom>
            <a:avLst/>
            <a:gdLst>
              <a:gd name="connsiteX0" fmla="*/ 0 w 6088284"/>
              <a:gd name="connsiteY0" fmla="*/ 0 h 5225969"/>
              <a:gd name="connsiteX1" fmla="*/ 6088284 w 6088284"/>
              <a:gd name="connsiteY1" fmla="*/ 0 h 5225969"/>
              <a:gd name="connsiteX2" fmla="*/ 6088284 w 6088284"/>
              <a:gd name="connsiteY2" fmla="*/ 1024360 h 5225969"/>
              <a:gd name="connsiteX3" fmla="*/ 2430684 w 6088284"/>
              <a:gd name="connsiteY3" fmla="*/ 1024360 h 5225969"/>
              <a:gd name="connsiteX4" fmla="*/ 2430684 w 6088284"/>
              <a:gd name="connsiteY4" fmla="*/ 5225969 h 5225969"/>
              <a:gd name="connsiteX5" fmla="*/ 1 w 6088284"/>
              <a:gd name="connsiteY5" fmla="*/ 5225969 h 5225969"/>
              <a:gd name="connsiteX6" fmla="*/ 1 w 6088284"/>
              <a:gd name="connsiteY6" fmla="*/ 1024360 h 5225969"/>
              <a:gd name="connsiteX7" fmla="*/ 0 w 6088284"/>
              <a:gd name="connsiteY7" fmla="*/ 1024360 h 5225969"/>
              <a:gd name="connsiteX0" fmla="*/ 0 w 6088284"/>
              <a:gd name="connsiteY0" fmla="*/ 0 h 5225969"/>
              <a:gd name="connsiteX1" fmla="*/ 6088284 w 6088284"/>
              <a:gd name="connsiteY1" fmla="*/ 0 h 5225969"/>
              <a:gd name="connsiteX2" fmla="*/ 6088284 w 6088284"/>
              <a:gd name="connsiteY2" fmla="*/ 1024360 h 5225969"/>
              <a:gd name="connsiteX3" fmla="*/ 2430684 w 6088284"/>
              <a:gd name="connsiteY3" fmla="*/ 1024360 h 5225969"/>
              <a:gd name="connsiteX4" fmla="*/ 2411027 w 6088284"/>
              <a:gd name="connsiteY4" fmla="*/ 3964329 h 5225969"/>
              <a:gd name="connsiteX5" fmla="*/ 1 w 6088284"/>
              <a:gd name="connsiteY5" fmla="*/ 5225969 h 5225969"/>
              <a:gd name="connsiteX6" fmla="*/ 1 w 6088284"/>
              <a:gd name="connsiteY6" fmla="*/ 1024360 h 5225969"/>
              <a:gd name="connsiteX7" fmla="*/ 0 w 6088284"/>
              <a:gd name="connsiteY7" fmla="*/ 1024360 h 5225969"/>
              <a:gd name="connsiteX8" fmla="*/ 0 w 6088284"/>
              <a:gd name="connsiteY8" fmla="*/ 0 h 5225969"/>
              <a:gd name="connsiteX0" fmla="*/ 19656 w 6107940"/>
              <a:gd name="connsiteY0" fmla="*/ 0 h 3975904"/>
              <a:gd name="connsiteX1" fmla="*/ 6107940 w 6107940"/>
              <a:gd name="connsiteY1" fmla="*/ 0 h 3975904"/>
              <a:gd name="connsiteX2" fmla="*/ 6107940 w 6107940"/>
              <a:gd name="connsiteY2" fmla="*/ 1024360 h 3975904"/>
              <a:gd name="connsiteX3" fmla="*/ 2450340 w 6107940"/>
              <a:gd name="connsiteY3" fmla="*/ 1024360 h 3975904"/>
              <a:gd name="connsiteX4" fmla="*/ 2430683 w 6107940"/>
              <a:gd name="connsiteY4" fmla="*/ 3964329 h 3975904"/>
              <a:gd name="connsiteX5" fmla="*/ 0 w 6107940"/>
              <a:gd name="connsiteY5" fmla="*/ 3975904 h 3975904"/>
              <a:gd name="connsiteX6" fmla="*/ 19657 w 6107940"/>
              <a:gd name="connsiteY6" fmla="*/ 1024360 h 3975904"/>
              <a:gd name="connsiteX7" fmla="*/ 19656 w 6107940"/>
              <a:gd name="connsiteY7" fmla="*/ 1024360 h 3975904"/>
              <a:gd name="connsiteX8" fmla="*/ 19656 w 6107940"/>
              <a:gd name="connsiteY8" fmla="*/ 0 h 397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7940" h="3975904">
                <a:moveTo>
                  <a:pt x="19656" y="0"/>
                </a:moveTo>
                <a:lnTo>
                  <a:pt x="6107940" y="0"/>
                </a:lnTo>
                <a:lnTo>
                  <a:pt x="6107940" y="1024360"/>
                </a:lnTo>
                <a:lnTo>
                  <a:pt x="2450340" y="1024360"/>
                </a:lnTo>
                <a:lnTo>
                  <a:pt x="2430683" y="3964329"/>
                </a:lnTo>
                <a:lnTo>
                  <a:pt x="0" y="3975904"/>
                </a:lnTo>
                <a:lnTo>
                  <a:pt x="19657" y="1024360"/>
                </a:lnTo>
                <a:lnTo>
                  <a:pt x="19656" y="1024360"/>
                </a:lnTo>
                <a:lnTo>
                  <a:pt x="1965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AA38252-551E-2F77-1A0E-DE9C7A670E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004" y="827590"/>
            <a:ext cx="7129557" cy="9867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45D06EE-3DD5-F081-EF35-FC09252DCAB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5330"/>
          <a:stretch/>
        </p:blipFill>
        <p:spPr>
          <a:xfrm>
            <a:off x="272002" y="1849056"/>
            <a:ext cx="2843217" cy="293128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75B45A00-A483-8572-A0AD-C2C65C3A1FFB}"/>
              </a:ext>
            </a:extLst>
          </p:cNvPr>
          <p:cNvGrpSpPr/>
          <p:nvPr/>
        </p:nvGrpSpPr>
        <p:grpSpPr>
          <a:xfrm>
            <a:off x="3316284" y="3073717"/>
            <a:ext cx="6672669" cy="1405050"/>
            <a:chOff x="4829838" y="-79169"/>
            <a:chExt cx="6672669" cy="1405050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09CEE08E-1C1E-2260-E412-16530573ACD6}"/>
                </a:ext>
              </a:extLst>
            </p:cNvPr>
            <p:cNvSpPr/>
            <p:nvPr/>
          </p:nvSpPr>
          <p:spPr>
            <a:xfrm>
              <a:off x="5764023" y="768162"/>
              <a:ext cx="5738484" cy="55771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Filter nach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Land, Gesellschaft </a:t>
              </a: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und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Cash Pool</a:t>
              </a: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BDFFBFB-72DE-5EB0-19E7-D6D943C01949}"/>
                </a:ext>
              </a:extLst>
            </p:cNvPr>
            <p:cNvGrpSpPr/>
            <p:nvPr/>
          </p:nvGrpSpPr>
          <p:grpSpPr>
            <a:xfrm>
              <a:off x="4829838" y="-79169"/>
              <a:ext cx="1086600" cy="1405050"/>
              <a:chOff x="4829838" y="-79169"/>
              <a:chExt cx="1086600" cy="1405050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D94FF00-B6D4-215A-230E-6FDF7A0999B6}"/>
                  </a:ext>
                </a:extLst>
              </p:cNvPr>
              <p:cNvSpPr txBox="1"/>
              <p:nvPr/>
            </p:nvSpPr>
            <p:spPr>
              <a:xfrm>
                <a:off x="5301965" y="694939"/>
                <a:ext cx="385042" cy="6309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veat" panose="00000500000000000000" pitchFamily="2" charset="0"/>
                    <a:ea typeface="+mn-ea"/>
                    <a:cs typeface="+mn-cs"/>
                  </a:rPr>
                  <a:t>&gt;</a:t>
                </a:r>
                <a:endParaRPr kumimoji="0" lang="en-AT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58FEAA8B-4AE9-645F-A3ED-DFE6EEB0F1FE}"/>
                  </a:ext>
                </a:extLst>
              </p:cNvPr>
              <p:cNvSpPr/>
              <p:nvPr/>
            </p:nvSpPr>
            <p:spPr>
              <a:xfrm rot="10206325">
                <a:off x="4829838" y="-79169"/>
                <a:ext cx="1086600" cy="1148888"/>
              </a:xfrm>
              <a:custGeom>
                <a:avLst/>
                <a:gdLst>
                  <a:gd name="connsiteX0" fmla="*/ 543300 w 1086600"/>
                  <a:gd name="connsiteY0" fmla="*/ 0 h 1148888"/>
                  <a:gd name="connsiteX1" fmla="*/ 1074086 w 1086600"/>
                  <a:gd name="connsiteY1" fmla="*/ 451863 h 1148888"/>
                  <a:gd name="connsiteX2" fmla="*/ 543300 w 1086600"/>
                  <a:gd name="connsiteY2" fmla="*/ 574444 h 1148888"/>
                  <a:gd name="connsiteX3" fmla="*/ 543300 w 1086600"/>
                  <a:gd name="connsiteY3" fmla="*/ 0 h 1148888"/>
                  <a:gd name="connsiteX0" fmla="*/ 543300 w 1086600"/>
                  <a:gd name="connsiteY0" fmla="*/ 0 h 1148888"/>
                  <a:gd name="connsiteX1" fmla="*/ 1074086 w 1086600"/>
                  <a:gd name="connsiteY1" fmla="*/ 451863 h 114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6600" h="1148888" stroke="0" extrusionOk="0">
                    <a:moveTo>
                      <a:pt x="543300" y="0"/>
                    </a:moveTo>
                    <a:cubicBezTo>
                      <a:pt x="778777" y="851"/>
                      <a:pt x="1064816" y="232526"/>
                      <a:pt x="1074086" y="451863"/>
                    </a:cubicBezTo>
                    <a:cubicBezTo>
                      <a:pt x="964650" y="478655"/>
                      <a:pt x="716435" y="489043"/>
                      <a:pt x="543300" y="574444"/>
                    </a:cubicBezTo>
                    <a:cubicBezTo>
                      <a:pt x="538307" y="414028"/>
                      <a:pt x="546070" y="258690"/>
                      <a:pt x="543300" y="0"/>
                    </a:cubicBezTo>
                    <a:close/>
                  </a:path>
                  <a:path w="1086600" h="1148888" fill="none" extrusionOk="0">
                    <a:moveTo>
                      <a:pt x="543300" y="0"/>
                    </a:moveTo>
                    <a:cubicBezTo>
                      <a:pt x="808678" y="17484"/>
                      <a:pt x="1022580" y="215522"/>
                      <a:pt x="1074086" y="451863"/>
                    </a:cubicBezTo>
                  </a:path>
                  <a:path w="1086600" h="1148888" fill="none" stroke="0" extrusionOk="0">
                    <a:moveTo>
                      <a:pt x="543300" y="0"/>
                    </a:moveTo>
                    <a:cubicBezTo>
                      <a:pt x="802911" y="7885"/>
                      <a:pt x="1083234" y="192758"/>
                      <a:pt x="1074086" y="451863"/>
                    </a:cubicBezTo>
                  </a:path>
                </a:pathLst>
              </a:custGeom>
              <a:ln w="38100">
                <a:solidFill>
                  <a:srgbClr val="3D3D3D"/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arc">
                        <a:avLst>
                          <a:gd name="adj1" fmla="val 16200000"/>
                          <a:gd name="adj2" fmla="val 20819755"/>
                        </a:avLst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91992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2D6E89-B42E-8F29-6DE3-426DA7B24344}"/>
              </a:ext>
            </a:extLst>
          </p:cNvPr>
          <p:cNvGrpSpPr/>
          <p:nvPr/>
        </p:nvGrpSpPr>
        <p:grpSpPr>
          <a:xfrm>
            <a:off x="0" y="127324"/>
            <a:ext cx="12168850" cy="6597571"/>
            <a:chOff x="0" y="127324"/>
            <a:chExt cx="12168850" cy="659757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056D2B9-89D9-C3D9-7C18-2E464D3DC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27324"/>
              <a:ext cx="12155529" cy="659757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7FF09C-AF01-3106-F96A-8B5092861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3312" t="36813" b="3889"/>
            <a:stretch/>
          </p:blipFill>
          <p:spPr>
            <a:xfrm>
              <a:off x="4062531" y="2546430"/>
              <a:ext cx="8106319" cy="3912243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9D8F7A-F558-4DB0-A1EB-D46B50A3CD10}"/>
              </a:ext>
            </a:extLst>
          </p:cNvPr>
          <p:cNvGrpSpPr/>
          <p:nvPr/>
        </p:nvGrpSpPr>
        <p:grpSpPr>
          <a:xfrm>
            <a:off x="-1" y="-23783"/>
            <a:ext cx="12223737" cy="6892391"/>
            <a:chOff x="0" y="-23783"/>
            <a:chExt cx="12130971" cy="689239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1D2C21-0705-BF17-DB54-D24E29C0F94C}"/>
                </a:ext>
              </a:extLst>
            </p:cNvPr>
            <p:cNvSpPr/>
            <p:nvPr/>
          </p:nvSpPr>
          <p:spPr>
            <a:xfrm>
              <a:off x="0" y="-23783"/>
              <a:ext cx="12130971" cy="2535842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2F09170-81BB-FFFD-C105-C95F820475EB}"/>
                </a:ext>
              </a:extLst>
            </p:cNvPr>
            <p:cNvSpPr/>
            <p:nvPr/>
          </p:nvSpPr>
          <p:spPr>
            <a:xfrm>
              <a:off x="2079743" y="4647179"/>
              <a:ext cx="10051227" cy="2200211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6073FC4-6CDC-CC31-BD07-2615FE2EDDD7}"/>
                </a:ext>
              </a:extLst>
            </p:cNvPr>
            <p:cNvSpPr/>
            <p:nvPr/>
          </p:nvSpPr>
          <p:spPr>
            <a:xfrm>
              <a:off x="0" y="2512060"/>
              <a:ext cx="2079743" cy="4356548"/>
            </a:xfrm>
            <a:prstGeom prst="rect">
              <a:avLst/>
            </a:prstGeom>
            <a:solidFill>
              <a:schemeClr val="bg1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00681F4-4CA0-F6AB-C1FE-49F136EEC450}"/>
              </a:ext>
            </a:extLst>
          </p:cNvPr>
          <p:cNvSpPr/>
          <p:nvPr/>
        </p:nvSpPr>
        <p:spPr>
          <a:xfrm>
            <a:off x="3732905" y="5064832"/>
            <a:ext cx="7099468" cy="557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sh-Pool-Salden 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us Kontoauszügen und Aggregation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805F00-71CE-A8BE-BCA1-9277FF65CFD2}"/>
              </a:ext>
            </a:extLst>
          </p:cNvPr>
          <p:cNvGrpSpPr/>
          <p:nvPr/>
        </p:nvGrpSpPr>
        <p:grpSpPr>
          <a:xfrm flipH="1">
            <a:off x="10745406" y="4237742"/>
            <a:ext cx="1086600" cy="1495017"/>
            <a:chOff x="4829838" y="-79169"/>
            <a:chExt cx="1086600" cy="1495017"/>
          </a:xfrm>
        </p:grpSpPr>
        <p:sp>
          <p:nvSpPr>
            <p:cNvPr id="17" name="Arc 16">
              <a:extLst>
                <a:ext uri="{FF2B5EF4-FFF2-40B4-BE49-F238E27FC236}">
                  <a16:creationId xmlns:a16="http://schemas.microsoft.com/office/drawing/2014/main" id="{D7983D5D-0CD6-42D8-9EF3-F71EB66A7614}"/>
                </a:ext>
              </a:extLst>
            </p:cNvPr>
            <p:cNvSpPr/>
            <p:nvPr/>
          </p:nvSpPr>
          <p:spPr>
            <a:xfrm rot="10206325">
              <a:off x="4829838" y="-79169"/>
              <a:ext cx="1086600" cy="1148888"/>
            </a:xfrm>
            <a:custGeom>
              <a:avLst/>
              <a:gdLst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  <a:gd name="connsiteX2" fmla="*/ 543300 w 1086600"/>
                <a:gd name="connsiteY2" fmla="*/ 574444 h 1148888"/>
                <a:gd name="connsiteX3" fmla="*/ 543300 w 1086600"/>
                <a:gd name="connsiteY3" fmla="*/ 0 h 1148888"/>
                <a:gd name="connsiteX0" fmla="*/ 543300 w 1086600"/>
                <a:gd name="connsiteY0" fmla="*/ 0 h 1148888"/>
                <a:gd name="connsiteX1" fmla="*/ 1086600 w 1086600"/>
                <a:gd name="connsiteY1" fmla="*/ 574444 h 1148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600" h="1148888" stroke="0" extrusionOk="0">
                  <a:moveTo>
                    <a:pt x="543300" y="0"/>
                  </a:moveTo>
                  <a:cubicBezTo>
                    <a:pt x="764733" y="3363"/>
                    <a:pt x="1113232" y="283371"/>
                    <a:pt x="1086600" y="574444"/>
                  </a:cubicBezTo>
                  <a:cubicBezTo>
                    <a:pt x="868073" y="584440"/>
                    <a:pt x="700116" y="563573"/>
                    <a:pt x="543300" y="574444"/>
                  </a:cubicBezTo>
                  <a:cubicBezTo>
                    <a:pt x="538307" y="414028"/>
                    <a:pt x="546070" y="258690"/>
                    <a:pt x="543300" y="0"/>
                  </a:cubicBezTo>
                  <a:close/>
                </a:path>
                <a:path w="1086600" h="1148888" fill="none" extrusionOk="0">
                  <a:moveTo>
                    <a:pt x="543300" y="0"/>
                  </a:moveTo>
                  <a:cubicBezTo>
                    <a:pt x="864759" y="37436"/>
                    <a:pt x="1090059" y="288949"/>
                    <a:pt x="1086600" y="574444"/>
                  </a:cubicBezTo>
                </a:path>
                <a:path w="1086600" h="1148888" fill="none" stroke="0" extrusionOk="0">
                  <a:moveTo>
                    <a:pt x="543300" y="0"/>
                  </a:moveTo>
                  <a:cubicBezTo>
                    <a:pt x="880792" y="69798"/>
                    <a:pt x="1138594" y="261024"/>
                    <a:pt x="1086600" y="574444"/>
                  </a:cubicBezTo>
                </a:path>
              </a:pathLst>
            </a:custGeom>
            <a:ln w="38100">
              <a:solidFill>
                <a:srgbClr val="3D3D3D"/>
              </a:solidFill>
              <a:extLst>
                <a:ext uri="{C807C97D-BFC1-408E-A445-0C87EB9F89A2}">
                  <ask:lineSketchStyleProps xmlns:ask="http://schemas.microsoft.com/office/drawing/2018/sketchyshapes" sd="2650216993">
                    <a:prstGeom prst="arc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14D2426-A670-E1BC-8A30-4E9BC9091C1C}"/>
                </a:ext>
              </a:extLst>
            </p:cNvPr>
            <p:cNvSpPr txBox="1"/>
            <p:nvPr/>
          </p:nvSpPr>
          <p:spPr>
            <a:xfrm rot="10282997">
              <a:off x="5333556" y="784906"/>
              <a:ext cx="385042" cy="6309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veat" panose="00000500000000000000" pitchFamily="2" charset="0"/>
                  <a:ea typeface="+mn-ea"/>
                  <a:cs typeface="+mn-cs"/>
                </a:rPr>
                <a:t>&gt;</a:t>
              </a:r>
              <a:endParaRPr kumimoji="0" lang="en-AT" sz="3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veat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2F639674-3F08-EFDD-92EC-1D7EF09D761A}"/>
              </a:ext>
            </a:extLst>
          </p:cNvPr>
          <p:cNvSpPr/>
          <p:nvPr/>
        </p:nvSpPr>
        <p:spPr>
          <a:xfrm>
            <a:off x="2027441" y="2434925"/>
            <a:ext cx="10128088" cy="23433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CA28C6E-CF75-3FE5-0BFC-FDF80E5A135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11547"/>
          <a:stretch/>
        </p:blipFill>
        <p:spPr>
          <a:xfrm>
            <a:off x="2027441" y="2423935"/>
            <a:ext cx="10164559" cy="234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88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ADF49-5459-E31B-9B42-E39115122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33425F-6C42-5E8B-D8C4-B210F7B4DE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AT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77289C-CEBF-7438-DB19-09EAC3EE7A5B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Grafik 8">
              <a:extLst>
                <a:ext uri="{FF2B5EF4-FFF2-40B4-BE49-F238E27FC236}">
                  <a16:creationId xmlns:a16="http://schemas.microsoft.com/office/drawing/2014/main" id="{43397759-B531-CF49-B3C6-A4D704C0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b="29456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Grafik 8">
              <a:extLst>
                <a:ext uri="{FF2B5EF4-FFF2-40B4-BE49-F238E27FC236}">
                  <a16:creationId xmlns:a16="http://schemas.microsoft.com/office/drawing/2014/main" id="{9BBC8052-F62B-BC38-0AB4-68F2029FB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0649" t="36651" b="29456"/>
            <a:stretch/>
          </p:blipFill>
          <p:spPr>
            <a:xfrm>
              <a:off x="3736694" y="3563073"/>
              <a:ext cx="8455306" cy="3294927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6F8C8B65-D5BE-A0AA-34C2-2A217F769B28}"/>
              </a:ext>
            </a:extLst>
          </p:cNvPr>
          <p:cNvSpPr/>
          <p:nvPr/>
        </p:nvSpPr>
        <p:spPr>
          <a:xfrm>
            <a:off x="1" y="1"/>
            <a:ext cx="12191998" cy="6858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F620D5B-9DDE-1F39-E64D-37A7EEC5440C}"/>
              </a:ext>
            </a:extLst>
          </p:cNvPr>
          <p:cNvGrpSpPr/>
          <p:nvPr/>
        </p:nvGrpSpPr>
        <p:grpSpPr>
          <a:xfrm>
            <a:off x="1158915" y="3397229"/>
            <a:ext cx="10394066" cy="1813307"/>
            <a:chOff x="1182065" y="4089782"/>
            <a:chExt cx="10394066" cy="1813307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21E3ABA-1626-EFDC-ABB6-0A05FF1EE528}"/>
                </a:ext>
              </a:extLst>
            </p:cNvPr>
            <p:cNvSpPr/>
            <p:nvPr/>
          </p:nvSpPr>
          <p:spPr>
            <a:xfrm>
              <a:off x="1182065" y="4479403"/>
              <a:ext cx="10394066" cy="1423686"/>
            </a:xfrm>
            <a:prstGeom prst="roundRect">
              <a:avLst>
                <a:gd name="adj" fmla="val 10163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Cash-Pool-Konten werden täglich auf Saldo “0” ausgeglichen, aber ein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“Schattensaldo” </a:t>
              </a: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ist für 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Verzinsung und </a:t>
              </a:r>
              <a:r>
                <a:rPr kumimoji="0" lang="de-DE" sz="18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Limitüberwachung</a:t>
              </a: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 </a:t>
              </a:r>
              <a:r>
                <a: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nötig. Cash-Pool-Transaktionen (833 und Verwendungstext) werden herausgefiltert und angezeigt.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DBCA19A-5B80-2C66-B1E6-EAA8BCCEDCFA}"/>
                </a:ext>
              </a:extLst>
            </p:cNvPr>
            <p:cNvSpPr/>
            <p:nvPr/>
          </p:nvSpPr>
          <p:spPr>
            <a:xfrm>
              <a:off x="1245318" y="4089782"/>
              <a:ext cx="2428123" cy="557719"/>
            </a:xfrm>
            <a:prstGeom prst="roundRect">
              <a:avLst>
                <a:gd name="adj" fmla="val 50000"/>
              </a:avLst>
            </a:prstGeom>
            <a:solidFill>
              <a:srgbClr val="FFD966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Herausforderung</a:t>
              </a: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6257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ADF49-5459-E31B-9B42-E39115122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33425F-6C42-5E8B-D8C4-B210F7B4DE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AT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77289C-CEBF-7438-DB19-09EAC3EE7A5B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Grafik 8">
              <a:extLst>
                <a:ext uri="{FF2B5EF4-FFF2-40B4-BE49-F238E27FC236}">
                  <a16:creationId xmlns:a16="http://schemas.microsoft.com/office/drawing/2014/main" id="{43397759-B531-CF49-B3C6-A4D704C0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b="29456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Grafik 8">
              <a:extLst>
                <a:ext uri="{FF2B5EF4-FFF2-40B4-BE49-F238E27FC236}">
                  <a16:creationId xmlns:a16="http://schemas.microsoft.com/office/drawing/2014/main" id="{9BBC8052-F62B-BC38-0AB4-68F2029FB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0649" t="36651" b="29456"/>
            <a:stretch/>
          </p:blipFill>
          <p:spPr>
            <a:xfrm>
              <a:off x="3736694" y="3563073"/>
              <a:ext cx="8455306" cy="32949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5551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ADF49-5459-E31B-9B42-E39115122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33425F-6C42-5E8B-D8C4-B210F7B4DE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AT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77289C-CEBF-7438-DB19-09EAC3EE7A5B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Grafik 8">
              <a:extLst>
                <a:ext uri="{FF2B5EF4-FFF2-40B4-BE49-F238E27FC236}">
                  <a16:creationId xmlns:a16="http://schemas.microsoft.com/office/drawing/2014/main" id="{43397759-B531-CF49-B3C6-A4D704C0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b="29456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Grafik 8">
              <a:extLst>
                <a:ext uri="{FF2B5EF4-FFF2-40B4-BE49-F238E27FC236}">
                  <a16:creationId xmlns:a16="http://schemas.microsoft.com/office/drawing/2014/main" id="{9BBC8052-F62B-BC38-0AB4-68F2029FB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30649" t="36651" b="29456"/>
            <a:stretch/>
          </p:blipFill>
          <p:spPr>
            <a:xfrm>
              <a:off x="3736694" y="3563073"/>
              <a:ext cx="8455306" cy="3294927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6F8C8B65-D5BE-A0AA-34C2-2A217F769B28}"/>
              </a:ext>
            </a:extLst>
          </p:cNvPr>
          <p:cNvSpPr/>
          <p:nvPr/>
        </p:nvSpPr>
        <p:spPr>
          <a:xfrm>
            <a:off x="1" y="1"/>
            <a:ext cx="12191998" cy="6858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64CE124-2AD2-139C-11CA-3D1A1ED8E4E9}"/>
              </a:ext>
            </a:extLst>
          </p:cNvPr>
          <p:cNvSpPr/>
          <p:nvPr/>
        </p:nvSpPr>
        <p:spPr>
          <a:xfrm>
            <a:off x="5674155" y="1690688"/>
            <a:ext cx="3423546" cy="557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chattensalden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ls Basis…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09FF65F-C80E-E276-D4AA-AC03B12CB805}"/>
              </a:ext>
            </a:extLst>
          </p:cNvPr>
          <p:cNvSpPr/>
          <p:nvPr/>
        </p:nvSpPr>
        <p:spPr>
          <a:xfrm>
            <a:off x="7964347" y="2458532"/>
            <a:ext cx="3919328" cy="557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…für die tägliche 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Verzinsung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901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>
            <a:extLst>
              <a:ext uri="{FF2B5EF4-FFF2-40B4-BE49-F238E27FC236}">
                <a16:creationId xmlns:a16="http://schemas.microsoft.com/office/drawing/2014/main" id="{FF0C9266-66D4-069B-8610-563CFE584D3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804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795187D-7949-AE41-B2A3-53739EF2696D}"/>
              </a:ext>
            </a:extLst>
          </p:cNvPr>
          <p:cNvSpPr/>
          <p:nvPr/>
        </p:nvSpPr>
        <p:spPr>
          <a:xfrm>
            <a:off x="1" y="1"/>
            <a:ext cx="12191998" cy="6858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DCF5A6F-42E4-1A78-A608-4E3AFDB4167A}"/>
              </a:ext>
            </a:extLst>
          </p:cNvPr>
          <p:cNvSpPr/>
          <p:nvPr/>
        </p:nvSpPr>
        <p:spPr>
          <a:xfrm>
            <a:off x="5674155" y="1690688"/>
            <a:ext cx="3423546" cy="557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chattensalden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ls Basis…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2609AE6-8C4B-566D-8BC6-A0FCCBD84463}"/>
              </a:ext>
            </a:extLst>
          </p:cNvPr>
          <p:cNvSpPr/>
          <p:nvPr/>
        </p:nvSpPr>
        <p:spPr>
          <a:xfrm>
            <a:off x="7964347" y="2458532"/>
            <a:ext cx="3621911" cy="557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…für die </a:t>
            </a: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Limitüberwachung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72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7C0248D8-AE69-B5B5-1005-8F8AC013F290}"/>
              </a:ext>
            </a:extLst>
          </p:cNvPr>
          <p:cNvSpPr txBox="1"/>
          <p:nvPr/>
        </p:nvSpPr>
        <p:spPr>
          <a:xfrm>
            <a:off x="648929" y="446896"/>
            <a:ext cx="10500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err="1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azit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von 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0CF64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ngel &amp; </a:t>
            </a:r>
            <a:r>
              <a:rPr kumimoji="0" lang="en-US" sz="3600" b="1" i="0" u="none" strike="noStrike" kern="1200" cap="none" spc="0" normalizeH="0" baseline="0" noProof="0" err="1">
                <a:ln>
                  <a:noFill/>
                </a:ln>
                <a:solidFill>
                  <a:srgbClr val="F0CF64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Völkers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F0CF64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851D005-4ADA-6628-E732-2170D4FE2741}"/>
              </a:ext>
            </a:extLst>
          </p:cNvPr>
          <p:cNvSpPr/>
          <p:nvPr/>
        </p:nvSpPr>
        <p:spPr>
          <a:xfrm>
            <a:off x="458539" y="1532091"/>
            <a:ext cx="10691241" cy="1776259"/>
          </a:xfrm>
          <a:prstGeom prst="roundRect">
            <a:avLst>
              <a:gd name="adj" fmla="val 6959"/>
            </a:avLst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CF6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2000">
              <a:latin typeface="Montserrat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0CF6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1">
                <a:latin typeface="Montserrat"/>
              </a:rPr>
              <a:t>80% der Banken </a:t>
            </a:r>
            <a:r>
              <a:rPr lang="de-DE">
                <a:latin typeface="Montserrat"/>
              </a:rPr>
              <a:t>konnten innerhalb eines halben Jahres angebunden werden </a:t>
            </a:r>
          </a:p>
          <a:p>
            <a:pPr marL="285750" indent="-285750" defTabSz="91440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/>
              </a:rPr>
              <a:t>Aufbau eines </a:t>
            </a:r>
            <a:r>
              <a:rPr lang="de-DE" b="1">
                <a:latin typeface="Montserrat"/>
              </a:rPr>
              <a:t>Cash Managements inkl. Forecast </a:t>
            </a:r>
            <a:r>
              <a:rPr lang="de-DE">
                <a:latin typeface="Montserrat"/>
              </a:rPr>
              <a:t>in nur wenigen Wochen sowie Einführung eines </a:t>
            </a:r>
            <a:r>
              <a:rPr lang="de-DE" b="1">
                <a:latin typeface="Montserrat"/>
              </a:rPr>
              <a:t>zentralen Cash Pools </a:t>
            </a:r>
            <a:r>
              <a:rPr lang="de-DE">
                <a:latin typeface="Montserrat"/>
              </a:rPr>
              <a:t>zur Optimierung der Liquiditätssteuerung und des Zinsergebnisse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C152128-DE3E-B403-0936-D30B0B5C9F11}"/>
              </a:ext>
            </a:extLst>
          </p:cNvPr>
          <p:cNvSpPr/>
          <p:nvPr/>
        </p:nvSpPr>
        <p:spPr>
          <a:xfrm>
            <a:off x="1321088" y="1277082"/>
            <a:ext cx="1843426" cy="484100"/>
          </a:xfrm>
          <a:prstGeom prst="roundRect">
            <a:avLst>
              <a:gd name="adj" fmla="val 50000"/>
            </a:avLst>
          </a:prstGeom>
          <a:solidFill>
            <a:srgbClr val="FFD966"/>
          </a:solidFill>
          <a:ln w="9525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de-DE" sz="1600" b="1">
                <a:latin typeface="Montserrat" panose="00000500000000000000" pitchFamily="2" charset="0"/>
              </a:rPr>
              <a:t>Erfolg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B3FB27D-216E-6907-9202-72E32EAC1289}"/>
              </a:ext>
            </a:extLst>
          </p:cNvPr>
          <p:cNvSpPr/>
          <p:nvPr/>
        </p:nvSpPr>
        <p:spPr>
          <a:xfrm>
            <a:off x="458539" y="3804659"/>
            <a:ext cx="10691241" cy="2116081"/>
          </a:xfrm>
          <a:prstGeom prst="roundRect">
            <a:avLst>
              <a:gd name="adj" fmla="val 6959"/>
            </a:avLst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rtlCol="0" anchor="ctr"/>
          <a:lstStyle/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endParaRPr lang="de-DE">
              <a:latin typeface="Montserrat" panose="00000500000000000000" pitchFamily="2" charset="0"/>
            </a:endParaRPr>
          </a:p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/>
              </a:rPr>
              <a:t>Fehlendes </a:t>
            </a:r>
            <a:r>
              <a:rPr lang="de-DE" b="1">
                <a:latin typeface="Montserrat"/>
              </a:rPr>
              <a:t>internes Know-how </a:t>
            </a:r>
            <a:r>
              <a:rPr lang="de-DE">
                <a:latin typeface="Montserrat"/>
              </a:rPr>
              <a:t>generell</a:t>
            </a:r>
            <a:r>
              <a:rPr lang="de-DE" b="1">
                <a:latin typeface="Montserrat"/>
              </a:rPr>
              <a:t> </a:t>
            </a:r>
            <a:r>
              <a:rPr lang="de-DE">
                <a:latin typeface="Montserrat"/>
              </a:rPr>
              <a:t>zu Treasury-Themen sowie Bankanbindungen</a:t>
            </a:r>
          </a:p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 b="1">
                <a:latin typeface="Montserrat"/>
              </a:rPr>
              <a:t>Dezentrale Strukturen </a:t>
            </a:r>
            <a:r>
              <a:rPr lang="de-DE">
                <a:latin typeface="Montserrat"/>
              </a:rPr>
              <a:t>mit lokal sehr unterschiedlichen Tools und Prozessen</a:t>
            </a:r>
          </a:p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/>
              </a:rPr>
              <a:t>Kein dezidiertes Projekt-Team, lediglich </a:t>
            </a:r>
            <a:r>
              <a:rPr lang="de-DE" b="1">
                <a:latin typeface="Montserrat"/>
              </a:rPr>
              <a:t>„Spot“-Support </a:t>
            </a:r>
            <a:r>
              <a:rPr lang="de-DE">
                <a:latin typeface="Montserrat"/>
              </a:rPr>
              <a:t>aus IT und Fachbereichen zusätzlich zum Tagesgeschäft und anderen Projekte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8561E2F-FCDD-0F50-6C45-13FD38A624D5}"/>
              </a:ext>
            </a:extLst>
          </p:cNvPr>
          <p:cNvSpPr/>
          <p:nvPr/>
        </p:nvSpPr>
        <p:spPr>
          <a:xfrm>
            <a:off x="1321088" y="3549650"/>
            <a:ext cx="2476212" cy="484100"/>
          </a:xfrm>
          <a:prstGeom prst="roundRect">
            <a:avLst>
              <a:gd name="adj" fmla="val 50000"/>
            </a:avLst>
          </a:prstGeom>
          <a:solidFill>
            <a:srgbClr val="FFD966"/>
          </a:solidFill>
          <a:ln w="9525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de-DE" sz="1600" b="1">
                <a:latin typeface="Montserrat" panose="00000500000000000000" pitchFamily="2" charset="0"/>
              </a:rPr>
              <a:t>Herausforderungen</a:t>
            </a:r>
          </a:p>
        </p:txBody>
      </p:sp>
    </p:spTree>
    <p:extLst>
      <p:ext uri="{BB962C8B-B14F-4D97-AF65-F5344CB8AC3E}">
        <p14:creationId xmlns:p14="http://schemas.microsoft.com/office/powerpoint/2010/main" val="14568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7">
          <a:extLst>
            <a:ext uri="{FF2B5EF4-FFF2-40B4-BE49-F238E27FC236}">
              <a16:creationId xmlns:a16="http://schemas.microsoft.com/office/drawing/2014/main" id="{4C1D1FD1-3CF8-DDAC-F312-63712315F6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71">
            <a:extLst>
              <a:ext uri="{FF2B5EF4-FFF2-40B4-BE49-F238E27FC236}">
                <a16:creationId xmlns:a16="http://schemas.microsoft.com/office/drawing/2014/main" id="{8F07716D-29BC-96E4-D4A5-70CBE1FAFDB3}"/>
              </a:ext>
            </a:extLst>
          </p:cNvPr>
          <p:cNvSpPr txBox="1"/>
          <p:nvPr/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" sz="2667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Wir sind global präsent – und weltweit auf Expansionskurs</a:t>
            </a:r>
            <a:endParaRPr kumimoji="0" sz="2667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99" name="Google Shape;699;p71">
            <a:extLst>
              <a:ext uri="{FF2B5EF4-FFF2-40B4-BE49-F238E27FC236}">
                <a16:creationId xmlns:a16="http://schemas.microsoft.com/office/drawing/2014/main" id="{E14340A6-FB96-294F-D498-719340EE2E10}"/>
              </a:ext>
            </a:extLst>
          </p:cNvPr>
          <p:cNvSpPr txBox="1"/>
          <p:nvPr/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44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ternehmenspräsentation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0" name="Google Shape;700;p71">
            <a:extLst>
              <a:ext uri="{FF2B5EF4-FFF2-40B4-BE49-F238E27FC236}">
                <a16:creationId xmlns:a16="http://schemas.microsoft.com/office/drawing/2014/main" id="{4D6E3640-075A-90B2-9B76-4FF1F59C553A}"/>
              </a:ext>
            </a:extLst>
          </p:cNvPr>
          <p:cNvSpPr txBox="1"/>
          <p:nvPr/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44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de" sz="8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1" name="Google Shape;701;p71">
            <a:extLst>
              <a:ext uri="{FF2B5EF4-FFF2-40B4-BE49-F238E27FC236}">
                <a16:creationId xmlns:a16="http://schemas.microsoft.com/office/drawing/2014/main" id="{DAC011A9-CC7A-A86F-2A6B-46907E9C475F}"/>
              </a:ext>
            </a:extLst>
          </p:cNvPr>
          <p:cNvCxnSpPr/>
          <p:nvPr/>
        </p:nvCxnSpPr>
        <p:spPr>
          <a:xfrm>
            <a:off x="7932204" y="1700807"/>
            <a:ext cx="0" cy="4032000"/>
          </a:xfrm>
          <a:prstGeom prst="straightConnector1">
            <a:avLst/>
          </a:prstGeom>
          <a:noFill/>
          <a:ln w="9525" cap="flat" cmpd="sng">
            <a:solidFill>
              <a:srgbClr val="E60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2" name="Google Shape;702;p71">
            <a:extLst>
              <a:ext uri="{FF2B5EF4-FFF2-40B4-BE49-F238E27FC236}">
                <a16:creationId xmlns:a16="http://schemas.microsoft.com/office/drawing/2014/main" id="{F9B4D602-8161-7A94-8A1F-4AF86A34D5A7}"/>
              </a:ext>
            </a:extLst>
          </p:cNvPr>
          <p:cNvSpPr txBox="1"/>
          <p:nvPr/>
        </p:nvSpPr>
        <p:spPr>
          <a:xfrm>
            <a:off x="8248567" y="2124033"/>
            <a:ext cx="32084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03030"/>
              </a:buClr>
              <a:buSzPts val="1500"/>
              <a:buFontTx/>
              <a:buNone/>
              <a:tabLst/>
              <a:defRPr/>
            </a:pPr>
            <a:r>
              <a:rPr kumimoji="0" lang="de" sz="20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&gt; 1.000 Standorte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646464"/>
              </a:buClr>
              <a:buSzPts val="900"/>
              <a:buFontTx/>
              <a:buNone/>
              <a:tabLst/>
              <a:defRPr/>
            </a:pPr>
            <a:r>
              <a:rPr kumimoji="0" lang="de" sz="12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über 1.000 Standorten sind wir mit lokaler Marktexpertise vor Ort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3" name="Google Shape;703;p71">
            <a:extLst>
              <a:ext uri="{FF2B5EF4-FFF2-40B4-BE49-F238E27FC236}">
                <a16:creationId xmlns:a16="http://schemas.microsoft.com/office/drawing/2014/main" id="{78D3697F-7978-301E-CFF9-A356D7AF0DED}"/>
              </a:ext>
            </a:extLst>
          </p:cNvPr>
          <p:cNvSpPr txBox="1"/>
          <p:nvPr/>
        </p:nvSpPr>
        <p:spPr>
          <a:xfrm>
            <a:off x="8248567" y="2970033"/>
            <a:ext cx="32084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03030"/>
              </a:buClr>
              <a:buSzPts val="1500"/>
              <a:buFontTx/>
              <a:buNone/>
              <a:tabLst/>
              <a:defRPr/>
            </a:pPr>
            <a:r>
              <a:rPr kumimoji="0" lang="de" sz="20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&gt; 35 Länder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646464"/>
              </a:buClr>
              <a:buSzPts val="900"/>
              <a:buFontTx/>
              <a:buNone/>
              <a:tabLst/>
              <a:defRPr/>
            </a:pPr>
            <a:r>
              <a:rPr kumimoji="0" lang="de" sz="12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r sind in über 35 Ländern auf fünf Kontinenten präsent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4" name="Google Shape;704;p71">
            <a:extLst>
              <a:ext uri="{FF2B5EF4-FFF2-40B4-BE49-F238E27FC236}">
                <a16:creationId xmlns:a16="http://schemas.microsoft.com/office/drawing/2014/main" id="{594FB1AF-4738-1FD5-A2C2-934638BF1BB9}"/>
              </a:ext>
            </a:extLst>
          </p:cNvPr>
          <p:cNvSpPr txBox="1"/>
          <p:nvPr/>
        </p:nvSpPr>
        <p:spPr>
          <a:xfrm>
            <a:off x="8248567" y="3816033"/>
            <a:ext cx="32084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03030"/>
              </a:buClr>
              <a:buSzPts val="1500"/>
              <a:buFontTx/>
              <a:buNone/>
              <a:tabLst/>
              <a:defRPr/>
            </a:pPr>
            <a:r>
              <a:rPr kumimoji="0" lang="de" sz="20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&gt; 16.600 Personen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646464"/>
              </a:buClr>
              <a:buSzPts val="900"/>
              <a:buFontTx/>
              <a:buNone/>
              <a:tabLst/>
              <a:defRPr/>
            </a:pPr>
            <a:r>
              <a:rPr kumimoji="0" lang="de" sz="12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tweit sind über 16.600 Personen unter der Marke Engel &amp; Völkers tätig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5" name="Google Shape;705;p71">
            <a:extLst>
              <a:ext uri="{FF2B5EF4-FFF2-40B4-BE49-F238E27FC236}">
                <a16:creationId xmlns:a16="http://schemas.microsoft.com/office/drawing/2014/main" id="{AAFBB064-D315-5A14-32F5-638A095D5C43}"/>
              </a:ext>
            </a:extLst>
          </p:cNvPr>
          <p:cNvSpPr txBox="1"/>
          <p:nvPr/>
        </p:nvSpPr>
        <p:spPr>
          <a:xfrm>
            <a:off x="8248567" y="4662033"/>
            <a:ext cx="32084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03030"/>
              </a:buClr>
              <a:buSzPts val="1500"/>
              <a:buFontTx/>
              <a:buNone/>
              <a:tabLst/>
              <a:defRPr/>
            </a:pPr>
            <a:r>
              <a:rPr kumimoji="0" lang="de" sz="20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&gt; 1,1 Mrd. Euro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  <a:p>
            <a:pPr marL="0" marR="0" lvl="1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646464"/>
              </a:buClr>
              <a:buSzPts val="900"/>
              <a:buFontTx/>
              <a:buNone/>
              <a:tabLst/>
              <a:defRPr/>
            </a:pPr>
            <a:r>
              <a:rPr kumimoji="0" lang="de" sz="12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 betrug der Gesamtumsatz an Markencourtage (Brutto) 1,1 Mrd. Euro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6" name="Google Shape;706;p71">
            <a:extLst>
              <a:ext uri="{FF2B5EF4-FFF2-40B4-BE49-F238E27FC236}">
                <a16:creationId xmlns:a16="http://schemas.microsoft.com/office/drawing/2014/main" id="{D8B8FC28-2AB0-9ADB-1FC5-0180868D1550}"/>
              </a:ext>
            </a:extLst>
          </p:cNvPr>
          <p:cNvSpPr txBox="1"/>
          <p:nvPr/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0" rIns="0" bIns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" sz="1067" b="0" i="0" u="none" strike="noStrike" kern="1200" cap="none" spc="0" normalizeH="0" baseline="0" noProof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ER WACHSTUM | DATEN &amp; FAKTEN</a:t>
            </a:r>
            <a:endParaRPr kumimoji="0" sz="1067" b="0" i="0" u="none" strike="noStrike" kern="1200" cap="none" spc="0" normalizeH="0" baseline="0" noProof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07" name="Google Shape;707;p71">
            <a:extLst>
              <a:ext uri="{FF2B5EF4-FFF2-40B4-BE49-F238E27FC236}">
                <a16:creationId xmlns:a16="http://schemas.microsoft.com/office/drawing/2014/main" id="{BFAA777F-ADAE-D1B0-CDB2-8C4683E29BB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653" r="1653"/>
          <a:stretch/>
        </p:blipFill>
        <p:spPr>
          <a:xfrm>
            <a:off x="684733" y="1700800"/>
            <a:ext cx="6931296" cy="4032000"/>
          </a:xfrm>
          <a:prstGeom prst="rect">
            <a:avLst/>
          </a:prstGeom>
          <a:noFill/>
          <a:ln>
            <a:noFill/>
          </a:ln>
        </p:spPr>
      </p:pic>
      <p:sp>
        <p:nvSpPr>
          <p:cNvPr id="708" name="Google Shape;708;p71">
            <a:extLst>
              <a:ext uri="{FF2B5EF4-FFF2-40B4-BE49-F238E27FC236}">
                <a16:creationId xmlns:a16="http://schemas.microsoft.com/office/drawing/2014/main" id="{659BF04A-5816-8495-05B4-51A55900CB73}"/>
              </a:ext>
            </a:extLst>
          </p:cNvPr>
          <p:cNvSpPr/>
          <p:nvPr/>
        </p:nvSpPr>
        <p:spPr>
          <a:xfrm>
            <a:off x="723164" y="5512833"/>
            <a:ext cx="568800" cy="19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646464"/>
              </a:buClr>
              <a:buSzPts val="1100"/>
              <a:buFontTx/>
              <a:buNone/>
              <a:tabLst/>
              <a:defRPr/>
            </a:pPr>
            <a:endParaRPr kumimoji="0" sz="933" b="0" i="0" u="none" strike="noStrike" kern="1200" cap="none" spc="0" normalizeH="0" baseline="0" noProof="0">
              <a:ln>
                <a:noFill/>
              </a:ln>
              <a:solidFill>
                <a:srgbClr val="CECEC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304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7C0248D8-AE69-B5B5-1005-8F8AC013F290}"/>
              </a:ext>
            </a:extLst>
          </p:cNvPr>
          <p:cNvSpPr txBox="1"/>
          <p:nvPr/>
        </p:nvSpPr>
        <p:spPr>
          <a:xfrm>
            <a:off x="648929" y="446896"/>
            <a:ext cx="10500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err="1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azit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von 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0CF64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ngel &amp; </a:t>
            </a:r>
            <a:r>
              <a:rPr kumimoji="0" lang="en-US" sz="3600" b="1" i="0" u="none" strike="noStrike" kern="1200" cap="none" spc="0" normalizeH="0" baseline="0" noProof="0" err="1">
                <a:ln>
                  <a:noFill/>
                </a:ln>
                <a:solidFill>
                  <a:srgbClr val="F0CF64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Völkers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F0CF64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851D005-4ADA-6628-E732-2170D4FE2741}"/>
              </a:ext>
            </a:extLst>
          </p:cNvPr>
          <p:cNvSpPr/>
          <p:nvPr/>
        </p:nvSpPr>
        <p:spPr>
          <a:xfrm>
            <a:off x="458539" y="1532091"/>
            <a:ext cx="10765721" cy="2255049"/>
          </a:xfrm>
          <a:prstGeom prst="roundRect">
            <a:avLst>
              <a:gd name="adj" fmla="val 6959"/>
            </a:avLst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 panose="00000500000000000000" pitchFamily="2" charset="0"/>
              </a:rPr>
              <a:t>FTS und Nomentia waren als </a:t>
            </a:r>
            <a:r>
              <a:rPr lang="de-DE" b="1">
                <a:latin typeface="Montserrat" panose="00000500000000000000" pitchFamily="2" charset="0"/>
              </a:rPr>
              <a:t>Sparring-Partner</a:t>
            </a:r>
            <a:r>
              <a:rPr lang="de-DE">
                <a:latin typeface="Montserrat" panose="00000500000000000000" pitchFamily="2" charset="0"/>
              </a:rPr>
              <a:t> entscheidend für den Projekterfolg</a:t>
            </a:r>
          </a:p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 panose="00000500000000000000" pitchFamily="2" charset="0"/>
              </a:rPr>
              <a:t>Erfolgreiche Implementierung auch ohne umfangreiche </a:t>
            </a:r>
            <a:r>
              <a:rPr lang="de-DE" b="1">
                <a:latin typeface="Montserrat" panose="00000500000000000000" pitchFamily="2" charset="0"/>
              </a:rPr>
              <a:t>Analyse- und Konzeptphase</a:t>
            </a:r>
          </a:p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Internationale 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Roll-out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 erfordern 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Zeit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 für Bankenanbindungen</a:t>
            </a:r>
          </a:p>
          <a:p>
            <a:pPr marL="285750" indent="-285750">
              <a:spcAft>
                <a:spcPts val="12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Empfehlung: 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Bankenlandschaft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 im Vorfeld zu 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verschlanken</a:t>
            </a:r>
            <a:endParaRPr kumimoji="0" lang="de-DE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C152128-DE3E-B403-0936-D30B0B5C9F11}"/>
              </a:ext>
            </a:extLst>
          </p:cNvPr>
          <p:cNvSpPr/>
          <p:nvPr/>
        </p:nvSpPr>
        <p:spPr>
          <a:xfrm>
            <a:off x="1321088" y="1290041"/>
            <a:ext cx="2387312" cy="484100"/>
          </a:xfrm>
          <a:prstGeom prst="roundRect">
            <a:avLst>
              <a:gd name="adj" fmla="val 50000"/>
            </a:avLst>
          </a:prstGeom>
          <a:solidFill>
            <a:srgbClr val="FFD966"/>
          </a:solidFill>
          <a:ln w="9525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de-DE" sz="1600" b="1" err="1">
                <a:latin typeface="Montserrat" panose="00000500000000000000" pitchFamily="2" charset="0"/>
              </a:rPr>
              <a:t>Lessons</a:t>
            </a:r>
            <a:r>
              <a:rPr lang="de-DE" sz="1600" b="1">
                <a:latin typeface="Montserrat" panose="00000500000000000000" pitchFamily="2" charset="0"/>
              </a:rPr>
              <a:t> </a:t>
            </a:r>
            <a:r>
              <a:rPr lang="de-DE" sz="1600" b="1" err="1">
                <a:latin typeface="Montserrat" panose="00000500000000000000" pitchFamily="2" charset="0"/>
              </a:rPr>
              <a:t>Learned</a:t>
            </a:r>
            <a:endParaRPr lang="de-DE" sz="1600" b="1">
              <a:latin typeface="Montserrat" panose="00000500000000000000" pitchFamily="2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FD1FEE5-871F-8245-EB43-848D7BCD7123}"/>
              </a:ext>
            </a:extLst>
          </p:cNvPr>
          <p:cNvSpPr/>
          <p:nvPr/>
        </p:nvSpPr>
        <p:spPr>
          <a:xfrm>
            <a:off x="458539" y="4261859"/>
            <a:ext cx="10765721" cy="1776259"/>
          </a:xfrm>
          <a:prstGeom prst="roundRect">
            <a:avLst>
              <a:gd name="adj" fmla="val 6959"/>
            </a:avLst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rtlCol="0" anchor="ctr"/>
          <a:lstStyle/>
          <a:p>
            <a:pPr marL="285750" indent="-285750">
              <a:spcAft>
                <a:spcPts val="6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/>
              </a:rPr>
              <a:t>Anbindung der noch </a:t>
            </a:r>
            <a:r>
              <a:rPr lang="de-DE" b="1">
                <a:latin typeface="Montserrat"/>
              </a:rPr>
              <a:t>übrigen Banken</a:t>
            </a:r>
          </a:p>
          <a:p>
            <a:pPr marL="285750" indent="-285750">
              <a:spcAft>
                <a:spcPts val="6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/>
              </a:rPr>
              <a:t>Implementierung eines </a:t>
            </a:r>
            <a:r>
              <a:rPr lang="de-DE" b="1">
                <a:latin typeface="Montserrat"/>
              </a:rPr>
              <a:t>internationalen EUR Cash Pools</a:t>
            </a:r>
            <a:endParaRPr lang="de-DE" b="1"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/>
              </a:rPr>
              <a:t>Modulare Erweiterung durch </a:t>
            </a:r>
            <a:r>
              <a:rPr lang="de-DE" b="1">
                <a:latin typeface="Montserrat"/>
              </a:rPr>
              <a:t>Darlehensverwaltung </a:t>
            </a:r>
            <a:r>
              <a:rPr lang="de-DE">
                <a:latin typeface="Montserrat"/>
              </a:rPr>
              <a:t>und</a:t>
            </a:r>
            <a:r>
              <a:rPr lang="de-DE" b="1">
                <a:latin typeface="Montserrat"/>
              </a:rPr>
              <a:t> In-house Bank</a:t>
            </a:r>
          </a:p>
          <a:p>
            <a:pPr marL="285750" indent="-285750">
              <a:spcAft>
                <a:spcPts val="600"/>
              </a:spcAft>
              <a:buClr>
                <a:srgbClr val="F0CF64"/>
              </a:buClr>
              <a:buFont typeface="Arial" panose="020B0604020202020204" pitchFamily="34" charset="0"/>
              <a:buChar char="•"/>
              <a:defRPr/>
            </a:pPr>
            <a:r>
              <a:rPr lang="de-DE">
                <a:latin typeface="Montserrat"/>
              </a:rPr>
              <a:t>Erstellung eines vollständigen </a:t>
            </a:r>
            <a:r>
              <a:rPr lang="de-DE" b="1">
                <a:latin typeface="Montserrat"/>
              </a:rPr>
              <a:t>Tagesfinanzstatus</a:t>
            </a:r>
            <a:r>
              <a:rPr lang="de-DE">
                <a:latin typeface="Montserrat"/>
              </a:rPr>
              <a:t> der Grupp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778450F-B827-07E2-C7FE-917A7C631EF8}"/>
              </a:ext>
            </a:extLst>
          </p:cNvPr>
          <p:cNvSpPr/>
          <p:nvPr/>
        </p:nvSpPr>
        <p:spPr>
          <a:xfrm>
            <a:off x="1321088" y="4006850"/>
            <a:ext cx="2476212" cy="484100"/>
          </a:xfrm>
          <a:prstGeom prst="roundRect">
            <a:avLst>
              <a:gd name="adj" fmla="val 50000"/>
            </a:avLst>
          </a:prstGeom>
          <a:solidFill>
            <a:srgbClr val="FFD966"/>
          </a:solidFill>
          <a:ln w="9525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de-DE" sz="1600" b="1">
                <a:latin typeface="Montserrat" panose="00000500000000000000" pitchFamily="2" charset="0"/>
              </a:rPr>
              <a:t>Ausblick</a:t>
            </a:r>
          </a:p>
        </p:txBody>
      </p:sp>
    </p:spTree>
    <p:extLst>
      <p:ext uri="{BB962C8B-B14F-4D97-AF65-F5344CB8AC3E}">
        <p14:creationId xmlns:p14="http://schemas.microsoft.com/office/powerpoint/2010/main" val="234466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864BEE0-3FDE-1130-490F-7D74E3FA5FDB}"/>
              </a:ext>
            </a:extLst>
          </p:cNvPr>
          <p:cNvSpPr txBox="1"/>
          <p:nvPr/>
        </p:nvSpPr>
        <p:spPr>
          <a:xfrm>
            <a:off x="2621331" y="2344941"/>
            <a:ext cx="6949338" cy="24004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499" b="0" i="0" u="none" strike="noStrike" kern="1200" cap="none" spc="0" normalizeH="0" baseline="0" noProof="0">
                <a:ln>
                  <a:noFill/>
                </a:ln>
                <a:solidFill>
                  <a:srgbClr val="F0CF64"/>
                </a:solidFill>
                <a:effectLst/>
                <a:uLnTx/>
                <a:uFillTx/>
                <a:latin typeface="Montserrat Bold" panose="00000800000000000000" pitchFamily="2" charset="0"/>
                <a:ea typeface="+mn-ea"/>
                <a:cs typeface="+mn-cs"/>
              </a:rPr>
              <a:t>FRAGEN &amp; 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499" b="0" i="0" u="none" strike="noStrike" kern="1200" cap="none" spc="0" normalizeH="0" baseline="0" noProof="0">
                <a:ln>
                  <a:noFill/>
                </a:ln>
                <a:solidFill>
                  <a:srgbClr val="F0CF64"/>
                </a:solidFill>
                <a:effectLst/>
                <a:uLnTx/>
                <a:uFillTx/>
                <a:latin typeface="Montserrat Bold" panose="00000800000000000000" pitchFamily="2" charset="0"/>
                <a:ea typeface="+mn-ea"/>
                <a:cs typeface="+mn-cs"/>
              </a:rPr>
              <a:t>ANTWORTEN</a:t>
            </a:r>
            <a:endParaRPr kumimoji="0" lang="en-AT" sz="7499" b="0" i="0" u="none" strike="noStrike" kern="1200" cap="none" spc="0" normalizeH="0" baseline="0" noProof="0">
              <a:ln>
                <a:noFill/>
              </a:ln>
              <a:solidFill>
                <a:srgbClr val="F0CF64"/>
              </a:solidFill>
              <a:effectLst/>
              <a:uLnTx/>
              <a:uFillTx/>
              <a:latin typeface="Montserrat Bold" panose="000008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49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5" descr="A person holding a computer&#10;&#10;Description automatically generated">
            <a:extLst>
              <a:ext uri="{FF2B5EF4-FFF2-40B4-BE49-F238E27FC236}">
                <a16:creationId xmlns:a16="http://schemas.microsoft.com/office/drawing/2014/main" id="{0D254D17-8D94-B93D-F6C4-129799B5F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4328" y="880552"/>
            <a:ext cx="5293171" cy="529317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0F0C1A9-E4BA-3096-3E66-197902B6FD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67499" y="2956296"/>
            <a:ext cx="253181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  <a:t>Linnoitustie</a:t>
            </a:r>
            <a:r>
              <a:rPr kumimoji="0" lang="de-AT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  <a:t> 6 | 02600 Espoo</a:t>
            </a:r>
            <a:br>
              <a:rPr kumimoji="0" lang="de-AT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</a:br>
            <a:r>
              <a:rPr kumimoji="0" lang="de-A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  <a:t>Finland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/>
                <a:ea typeface="MS PGothic"/>
                <a:cs typeface="Arial"/>
              </a:rPr>
              <a:t>T    +358 104 195 200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/>
                <a:ea typeface="MS PGothic"/>
                <a:cs typeface="Arial"/>
              </a:rPr>
              <a:t>E    </a:t>
            </a:r>
            <a:r>
              <a:rPr kumimoji="0" lang="de-A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/>
                <a:ea typeface="MS PGothic"/>
                <a:cs typeface="+mn-cs"/>
              </a:rPr>
              <a:t>nomentia</a:t>
            </a:r>
            <a:r>
              <a:rPr kumimoji="0" lang="en-FI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/>
                <a:ea typeface="MS PGothic"/>
                <a:cs typeface="+mn-cs"/>
              </a:rPr>
              <a:t>@nomentia.com</a:t>
            </a: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Montserrat"/>
              <a:ea typeface="MS PGothic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Arial" panose="020B0604020202020204" pitchFamily="34" charset="0"/>
              </a:rPr>
              <a:t>W  nomentia.com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3743DBF-6BC4-3DF7-AF45-30FD3C4244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67499" y="4173065"/>
            <a:ext cx="323373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  <a:t>Am Belvedere 8 | 1100 Vienna</a:t>
            </a:r>
            <a:br>
              <a:rPr kumimoji="0" lang="de-AT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</a:br>
            <a:r>
              <a:rPr kumimoji="0" lang="de-AT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  <a:t>Austr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Arial" panose="020B0604020202020204" pitchFamily="34" charset="0"/>
              </a:rPr>
              <a:t>T    +43 1 581 05 19</a:t>
            </a:r>
            <a:br>
              <a:rPr kumimoji="0" lang="de-DE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de-DE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Arial" panose="020B0604020202020204" pitchFamily="34" charset="0"/>
              </a:rPr>
              <a:t>E    </a:t>
            </a:r>
            <a:r>
              <a:rPr kumimoji="0" lang="de-AT" sz="1200" b="0" i="0" u="none" strike="noStrike" kern="1200" cap="none" spc="0" normalizeH="0" baseline="0" noProof="0" err="1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  <a:t>vienna</a:t>
            </a:r>
            <a:r>
              <a:rPr kumimoji="0" lang="en-FI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+mn-cs"/>
              </a:rPr>
              <a:t>@nomentia.com</a:t>
            </a:r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Montserrat" pitchFamily="2" charset="77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  <a:cs typeface="Arial" panose="020B0604020202020204" pitchFamily="34" charset="0"/>
              </a:rPr>
              <a:t>W  nomentia.com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8E7E4B3-1664-E59F-9C75-54C13B581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1256" y="1147950"/>
            <a:ext cx="2664300" cy="1325563"/>
          </a:xfrm>
        </p:spPr>
        <p:txBody>
          <a:bodyPr>
            <a:normAutofit/>
          </a:bodyPr>
          <a:lstStyle/>
          <a:p>
            <a:r>
              <a:rPr lang="de-AT"/>
              <a:t>Kontakt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4164034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76"/>
          <p:cNvSpPr txBox="1"/>
          <p:nvPr/>
        </p:nvSpPr>
        <p:spPr>
          <a:xfrm>
            <a:off x="371364" y="584732"/>
            <a:ext cx="11448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0" rIns="0" bIns="0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" sz="2667" b="0" i="0" u="none" strike="noStrike" kern="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Bestens aufgestellt – und weltweit auf Wachstumskurs</a:t>
            </a:r>
            <a:endParaRPr kumimoji="0" sz="2667" b="0" i="0" u="none" strike="noStrike" kern="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757" name="Google Shape;757;p76"/>
          <p:cNvSpPr txBox="1"/>
          <p:nvPr/>
        </p:nvSpPr>
        <p:spPr>
          <a:xfrm>
            <a:off x="11604636" y="6417348"/>
            <a:ext cx="2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4400" anchor="b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fld id="{00000000-1234-1234-1234-123412341234}" type="slidenum">
              <a:rPr kumimoji="0" lang="de" sz="800" b="0" i="0" u="none" strike="noStrike" kern="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58" name="Google Shape;758;p76"/>
          <p:cNvSpPr txBox="1"/>
          <p:nvPr/>
        </p:nvSpPr>
        <p:spPr>
          <a:xfrm>
            <a:off x="371364" y="368676"/>
            <a:ext cx="5616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0" rIns="0" bIns="0" anchor="b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" sz="1067" b="0" i="0" u="none" strike="noStrike" kern="0" cap="none" spc="0" normalizeH="0" baseline="0" noProof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UNSER UNTERNEHMEN | GESCHÄFTSMODELL</a:t>
            </a:r>
            <a:endParaRPr kumimoji="0" sz="1067" b="0" i="0" u="none" strike="noStrike" kern="0" cap="none" spc="0" normalizeH="0" baseline="0" noProof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59" name="Google Shape;759;p76"/>
          <p:cNvSpPr txBox="1"/>
          <p:nvPr/>
        </p:nvSpPr>
        <p:spPr>
          <a:xfrm>
            <a:off x="6204012" y="6417348"/>
            <a:ext cx="532800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4400" anchor="b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" sz="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Unternehmenspräsentation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cxnSp>
        <p:nvCxnSpPr>
          <p:cNvPr id="760" name="Google Shape;760;p76"/>
          <p:cNvCxnSpPr/>
          <p:nvPr/>
        </p:nvCxnSpPr>
        <p:spPr>
          <a:xfrm flipH="1">
            <a:off x="6177548" y="2523663"/>
            <a:ext cx="2800" cy="3449200"/>
          </a:xfrm>
          <a:prstGeom prst="straightConnector1">
            <a:avLst/>
          </a:prstGeom>
          <a:noFill/>
          <a:ln w="9525" cap="flat" cmpd="sng">
            <a:solidFill>
              <a:srgbClr val="E6000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61" name="Google Shape;761;p76"/>
          <p:cNvPicPr preferRelativeResize="0"/>
          <p:nvPr/>
        </p:nvPicPr>
        <p:blipFill rotWithShape="1">
          <a:blip r:embed="rId3">
            <a:alphaModFix/>
          </a:blip>
          <a:srcRect l="12172" r="12172"/>
          <a:stretch/>
        </p:blipFill>
        <p:spPr>
          <a:xfrm>
            <a:off x="1720006" y="2704628"/>
            <a:ext cx="3024001" cy="2664003"/>
          </a:xfrm>
          <a:prstGeom prst="rect">
            <a:avLst/>
          </a:prstGeom>
          <a:noFill/>
          <a:ln>
            <a:noFill/>
          </a:ln>
        </p:spPr>
      </p:pic>
      <p:pic>
        <p:nvPicPr>
          <p:cNvPr id="762" name="Google Shape;762;p76"/>
          <p:cNvPicPr preferRelativeResize="0"/>
          <p:nvPr/>
        </p:nvPicPr>
        <p:blipFill rotWithShape="1">
          <a:blip r:embed="rId4">
            <a:alphaModFix/>
          </a:blip>
          <a:srcRect l="12057" r="12064"/>
          <a:stretch/>
        </p:blipFill>
        <p:spPr>
          <a:xfrm>
            <a:off x="7446736" y="2704629"/>
            <a:ext cx="3024001" cy="2664001"/>
          </a:xfrm>
          <a:prstGeom prst="rect">
            <a:avLst/>
          </a:prstGeom>
          <a:noFill/>
          <a:ln>
            <a:noFill/>
          </a:ln>
        </p:spPr>
      </p:pic>
      <p:sp>
        <p:nvSpPr>
          <p:cNvPr id="763" name="Google Shape;763;p76"/>
          <p:cNvSpPr/>
          <p:nvPr/>
        </p:nvSpPr>
        <p:spPr>
          <a:xfrm>
            <a:off x="371367" y="1700200"/>
            <a:ext cx="10087200" cy="47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0" rIns="0" bIns="0" anchor="t" anchorCtr="0">
            <a:noAutofit/>
          </a:bodyPr>
          <a:lstStyle/>
          <a:p>
            <a:pPr marL="0" marR="0" lvl="1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646464"/>
              </a:buClr>
              <a:buSzPts val="900"/>
              <a:buFontTx/>
              <a:buNone/>
              <a:tabLst/>
              <a:defRPr/>
            </a:pPr>
            <a:r>
              <a:rPr kumimoji="0" lang="de" sz="1467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Neben unserem etablierten Franchise-Konzept setzen wir seit 2013 auf konzerneigene Market Center (MC) in den wichtigsten Metropolen weltweit – u.a. in Madrid, Paris, Rom, Athen, New York, Dubai und Hong Kong.</a:t>
            </a:r>
            <a:r>
              <a:rPr kumimoji="0" lang="de" sz="1467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4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64" name="Google Shape;764;p76"/>
          <p:cNvSpPr txBox="1"/>
          <p:nvPr/>
        </p:nvSpPr>
        <p:spPr>
          <a:xfrm>
            <a:off x="1179367" y="5396467"/>
            <a:ext cx="4000000" cy="503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" sz="1467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ranchise System</a:t>
            </a:r>
            <a:endParaRPr kumimoji="0" sz="1467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65" name="Google Shape;765;p76"/>
          <p:cNvSpPr txBox="1"/>
          <p:nvPr/>
        </p:nvSpPr>
        <p:spPr>
          <a:xfrm>
            <a:off x="6958733" y="5406467"/>
            <a:ext cx="4000000" cy="503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" sz="1467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ompany Owned (MC)</a:t>
            </a:r>
            <a:endParaRPr kumimoji="0" sz="1467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" name="Google Shape;615;p4"/>
          <p:cNvPicPr preferRelativeResize="0"/>
          <p:nvPr/>
        </p:nvPicPr>
        <p:blipFill rotWithShape="1">
          <a:blip r:embed="rId3">
            <a:alphaModFix/>
          </a:blip>
          <a:srcRect l="12577" t="19453" r="28181" b="30551"/>
          <a:stretch/>
        </p:blipFill>
        <p:spPr>
          <a:xfrm>
            <a:off x="-48934" y="-27525"/>
            <a:ext cx="12289873" cy="6913053"/>
          </a:xfrm>
          <a:prstGeom prst="rect">
            <a:avLst/>
          </a:prstGeom>
          <a:noFill/>
          <a:ln>
            <a:noFill/>
          </a:ln>
        </p:spPr>
      </p:pic>
      <p:sp>
        <p:nvSpPr>
          <p:cNvPr id="616" name="Google Shape;616;p4"/>
          <p:cNvSpPr txBox="1">
            <a:spLocks noGrp="1"/>
          </p:cNvSpPr>
          <p:nvPr>
            <p:ph type="body" idx="3"/>
          </p:nvPr>
        </p:nvSpPr>
        <p:spPr>
          <a:xfrm>
            <a:off x="918133" y="1997601"/>
            <a:ext cx="10355734" cy="1488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indent="0" algn="ctr">
              <a:lnSpc>
                <a:spcPct val="120000"/>
              </a:lnSpc>
            </a:pPr>
            <a:r>
              <a:rPr lang="en-US" sz="3194" b="0" i="1">
                <a:solidFill>
                  <a:srgbClr val="303030"/>
                </a:solidFill>
                <a:latin typeface="Georgia"/>
                <a:ea typeface="Georgia"/>
                <a:cs typeface="Georgia"/>
                <a:sym typeface="Georgia"/>
              </a:rPr>
              <a:t>We craft extraordinary living experiences</a:t>
            </a:r>
            <a:endParaRPr/>
          </a:p>
          <a:p>
            <a:pPr marL="0" indent="0" algn="ctr">
              <a:lnSpc>
                <a:spcPct val="120000"/>
              </a:lnSpc>
            </a:pPr>
            <a:r>
              <a:rPr lang="en-US" sz="3194" b="0" i="1">
                <a:solidFill>
                  <a:srgbClr val="303030"/>
                </a:solidFill>
                <a:latin typeface="Georgia"/>
                <a:ea typeface="Georgia"/>
                <a:cs typeface="Georgia"/>
                <a:sym typeface="Georgia"/>
              </a:rPr>
              <a:t>worldwide based on genuine trust, </a:t>
            </a:r>
            <a:endParaRPr/>
          </a:p>
          <a:p>
            <a:pPr marL="0" indent="0" algn="ctr">
              <a:lnSpc>
                <a:spcPct val="120000"/>
              </a:lnSpc>
            </a:pPr>
            <a:r>
              <a:rPr lang="en-US" sz="3194" b="0" i="1">
                <a:solidFill>
                  <a:srgbClr val="303030"/>
                </a:solidFill>
                <a:latin typeface="Georgia"/>
                <a:ea typeface="Georgia"/>
                <a:cs typeface="Georgia"/>
                <a:sym typeface="Georgia"/>
              </a:rPr>
              <a:t>personal connections and unparalleled service.</a:t>
            </a:r>
            <a:endParaRPr/>
          </a:p>
        </p:txBody>
      </p:sp>
      <p:sp>
        <p:nvSpPr>
          <p:cNvPr id="617" name="Google Shape;617;p4"/>
          <p:cNvSpPr txBox="1"/>
          <p:nvPr/>
        </p:nvSpPr>
        <p:spPr>
          <a:xfrm>
            <a:off x="2805639" y="4002512"/>
            <a:ext cx="6580722" cy="614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650" tIns="121650" rIns="121650" bIns="1216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597" b="0" i="0" u="none" strike="noStrike" kern="0" cap="none" spc="0" normalizeH="0" baseline="0" noProof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SION 2030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618" name="Google Shape;618;p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628139" y="559118"/>
            <a:ext cx="2935722" cy="646501"/>
          </a:xfrm>
          <a:prstGeom prst="rect">
            <a:avLst/>
          </a:prstGeom>
          <a:noFill/>
          <a:ln>
            <a:noFill/>
          </a:ln>
        </p:spPr>
      </p:pic>
      <p:sp>
        <p:nvSpPr>
          <p:cNvPr id="619" name="Google Shape;619;p4"/>
          <p:cNvSpPr txBox="1">
            <a:spLocks noGrp="1"/>
          </p:cNvSpPr>
          <p:nvPr>
            <p:ph type="body" idx="3"/>
          </p:nvPr>
        </p:nvSpPr>
        <p:spPr>
          <a:xfrm>
            <a:off x="7909470" y="5702466"/>
            <a:ext cx="2562186" cy="5233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 algn="ctr">
              <a:lnSpc>
                <a:spcPct val="100000"/>
              </a:lnSpc>
              <a:spcAft>
                <a:spcPts val="1597"/>
              </a:spcAft>
            </a:pPr>
            <a: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  <a:t>Global </a:t>
            </a:r>
            <a:b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</a:br>
            <a: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  <a:t>Network</a:t>
            </a:r>
            <a:endParaRPr/>
          </a:p>
        </p:txBody>
      </p:sp>
      <p:sp>
        <p:nvSpPr>
          <p:cNvPr id="620" name="Google Shape;620;p4"/>
          <p:cNvSpPr txBox="1">
            <a:spLocks noGrp="1"/>
          </p:cNvSpPr>
          <p:nvPr>
            <p:ph type="body" idx="3"/>
          </p:nvPr>
        </p:nvSpPr>
        <p:spPr>
          <a:xfrm>
            <a:off x="1720363" y="5702466"/>
            <a:ext cx="2562186" cy="5233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 algn="ctr">
              <a:lnSpc>
                <a:spcPct val="100000"/>
              </a:lnSpc>
              <a:spcAft>
                <a:spcPts val="1597"/>
              </a:spcAft>
            </a:pPr>
            <a: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  <a:t>Premium </a:t>
            </a:r>
            <a:b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</a:br>
            <a: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  <a:t>Brand Experience</a:t>
            </a:r>
            <a:endParaRPr/>
          </a:p>
        </p:txBody>
      </p:sp>
      <p:sp>
        <p:nvSpPr>
          <p:cNvPr id="621" name="Google Shape;621;p4"/>
          <p:cNvSpPr txBox="1">
            <a:spLocks noGrp="1"/>
          </p:cNvSpPr>
          <p:nvPr>
            <p:ph type="body" idx="3"/>
          </p:nvPr>
        </p:nvSpPr>
        <p:spPr>
          <a:xfrm>
            <a:off x="4814907" y="5702466"/>
            <a:ext cx="2562186" cy="5233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 algn="ctr">
              <a:lnSpc>
                <a:spcPct val="100000"/>
              </a:lnSpc>
              <a:spcAft>
                <a:spcPts val="1597"/>
              </a:spcAft>
            </a:pPr>
            <a: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  <a:t>Innovative </a:t>
            </a:r>
            <a:b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</a:br>
            <a:r>
              <a:rPr lang="en-US" sz="1995" b="0">
                <a:solidFill>
                  <a:srgbClr val="4B4B4B"/>
                </a:solidFill>
                <a:latin typeface="Georgia"/>
                <a:ea typeface="Georgia"/>
                <a:cs typeface="Georgia"/>
                <a:sym typeface="Georgia"/>
              </a:rPr>
              <a:t>Digital Platform</a:t>
            </a:r>
            <a:endParaRPr/>
          </a:p>
        </p:txBody>
      </p:sp>
      <p:cxnSp>
        <p:nvCxnSpPr>
          <p:cNvPr id="622" name="Google Shape;622;p4"/>
          <p:cNvCxnSpPr/>
          <p:nvPr/>
        </p:nvCxnSpPr>
        <p:spPr>
          <a:xfrm>
            <a:off x="4548728" y="5547569"/>
            <a:ext cx="0" cy="83317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3" name="Google Shape;623;p4"/>
          <p:cNvCxnSpPr/>
          <p:nvPr/>
        </p:nvCxnSpPr>
        <p:spPr>
          <a:xfrm>
            <a:off x="7643272" y="5547569"/>
            <a:ext cx="0" cy="83317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C28F26-4E3D-0542-EB33-75FEB7D6B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549" y="230333"/>
            <a:ext cx="10515600" cy="1189037"/>
          </a:xfrm>
        </p:spPr>
        <p:txBody>
          <a:bodyPr>
            <a:normAutofit/>
          </a:bodyPr>
          <a:lstStyle/>
          <a:p>
            <a:r>
              <a:rPr lang="de-DE" sz="3500" b="1">
                <a:solidFill>
                  <a:schemeClr val="bg1"/>
                </a:solidFill>
                <a:latin typeface="Montserrat" pitchFamily="2" charset="77"/>
              </a:rPr>
              <a:t>Die Anforderungen von </a:t>
            </a:r>
            <a:r>
              <a:rPr lang="de-DE" sz="3500" b="1">
                <a:solidFill>
                  <a:srgbClr val="EFCE63"/>
                </a:solidFill>
                <a:latin typeface="Montserrat" pitchFamily="2" charset="77"/>
              </a:rPr>
              <a:t>Engel &amp; Völkers</a:t>
            </a:r>
            <a:endParaRPr lang="en-AT" sz="3500" b="1">
              <a:solidFill>
                <a:srgbClr val="EFCE63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C0975E7-268A-35A3-1894-50AB2DB4EEB2}"/>
              </a:ext>
            </a:extLst>
          </p:cNvPr>
          <p:cNvGrpSpPr/>
          <p:nvPr/>
        </p:nvGrpSpPr>
        <p:grpSpPr>
          <a:xfrm>
            <a:off x="500123" y="1557339"/>
            <a:ext cx="4788935" cy="1953363"/>
            <a:chOff x="500123" y="1557339"/>
            <a:chExt cx="4788935" cy="1953363"/>
          </a:xfrm>
        </p:grpSpPr>
        <p:sp>
          <p:nvSpPr>
            <p:cNvPr id="31" name="Trapezoid 30">
              <a:extLst>
                <a:ext uri="{FF2B5EF4-FFF2-40B4-BE49-F238E27FC236}">
                  <a16:creationId xmlns:a16="http://schemas.microsoft.com/office/drawing/2014/main" id="{4D61FF6B-27CB-F5E5-140B-4A29D347E742}"/>
                </a:ext>
              </a:extLst>
            </p:cNvPr>
            <p:cNvSpPr/>
            <p:nvPr/>
          </p:nvSpPr>
          <p:spPr>
            <a:xfrm rot="8032949">
              <a:off x="3625057" y="1846700"/>
              <a:ext cx="1586646" cy="1741357"/>
            </a:xfrm>
            <a:prstGeom prst="trapezoid">
              <a:avLst>
                <a:gd name="adj" fmla="val 74601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100000">
                  <a:srgbClr val="30322F">
                    <a:alpha val="14000"/>
                  </a:srgbClr>
                </a:gs>
                <a:gs pos="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5399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FDCC7F6-6AAE-CD37-4C85-6CBBF4C82527}"/>
                </a:ext>
              </a:extLst>
            </p:cNvPr>
            <p:cNvGrpSpPr/>
            <p:nvPr/>
          </p:nvGrpSpPr>
          <p:grpSpPr>
            <a:xfrm>
              <a:off x="500123" y="1557339"/>
              <a:ext cx="3909831" cy="1189037"/>
              <a:chOff x="3704381" y="3010248"/>
              <a:chExt cx="4783238" cy="1189037"/>
            </a:xfrm>
            <a:solidFill>
              <a:schemeClr val="tx1"/>
            </a:solidFill>
          </p:grpSpPr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DFA39930-47E7-29A5-DA3E-CB9E76CF5228}"/>
                  </a:ext>
                </a:extLst>
              </p:cNvPr>
              <p:cNvSpPr/>
              <p:nvPr/>
            </p:nvSpPr>
            <p:spPr>
              <a:xfrm>
                <a:off x="3704381" y="3010248"/>
                <a:ext cx="4783238" cy="1189037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399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B88CC7F-7C35-8296-3198-9F34849B56AB}"/>
                  </a:ext>
                </a:extLst>
              </p:cNvPr>
              <p:cNvSpPr txBox="1"/>
              <p:nvPr/>
            </p:nvSpPr>
            <p:spPr>
              <a:xfrm>
                <a:off x="3849064" y="3099775"/>
                <a:ext cx="4424423" cy="95410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EFCE63"/>
                    </a:solidFill>
                    <a:effectLst/>
                    <a:uLnTx/>
                    <a:uFillTx/>
                    <a:latin typeface="Montserrat"/>
                  </a:rPr>
                  <a:t>TRANSPARENZ</a:t>
                </a:r>
                <a:br>
                  <a:rPr lang="en-US" sz="1400" b="1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Montserrat" panose="00000500000000000000" pitchFamily="2" charset="0"/>
                  </a:rPr>
                </a:br>
                <a:r>
                  <a:rPr kumimoji="0" lang="de-DE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5F5F5"/>
                    </a:solidFill>
                    <a:effectLst/>
                    <a:uLnTx/>
                    <a:uFillTx/>
                    <a:latin typeface="Montserrat"/>
                  </a:rPr>
                  <a:t>Konzernweiter Finanzstatus nach Ländern und Gesellschaften, unabhängig von ERP-Daten</a:t>
                </a:r>
                <a:endParaRPr kumimoji="0" lang="en-AT" sz="1400" b="0" i="0" u="none" strike="noStrike" kern="1200" cap="none" spc="0" normalizeH="0" baseline="0" noProof="0">
                  <a:ln>
                    <a:noFill/>
                  </a:ln>
                  <a:solidFill>
                    <a:srgbClr val="EFCE63"/>
                  </a:solidFill>
                  <a:effectLst/>
                  <a:uLnTx/>
                  <a:uFillTx/>
                  <a:latin typeface="Montserrat"/>
                </a:endParaRP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13BE5CE-B24D-EE6E-D58A-93F07E0CB23E}"/>
              </a:ext>
            </a:extLst>
          </p:cNvPr>
          <p:cNvGrpSpPr/>
          <p:nvPr/>
        </p:nvGrpSpPr>
        <p:grpSpPr>
          <a:xfrm>
            <a:off x="500122" y="3837382"/>
            <a:ext cx="4836114" cy="1777641"/>
            <a:chOff x="500122" y="3837382"/>
            <a:chExt cx="4836114" cy="1777641"/>
          </a:xfrm>
        </p:grpSpPr>
        <p:sp>
          <p:nvSpPr>
            <p:cNvPr id="33" name="Trapezoid 32">
              <a:extLst>
                <a:ext uri="{FF2B5EF4-FFF2-40B4-BE49-F238E27FC236}">
                  <a16:creationId xmlns:a16="http://schemas.microsoft.com/office/drawing/2014/main" id="{0001AE34-94B4-E8DB-64AD-29E529C772AC}"/>
                </a:ext>
              </a:extLst>
            </p:cNvPr>
            <p:cNvSpPr/>
            <p:nvPr/>
          </p:nvSpPr>
          <p:spPr>
            <a:xfrm rot="2780563">
              <a:off x="3672235" y="3760026"/>
              <a:ext cx="1586646" cy="1741357"/>
            </a:xfrm>
            <a:prstGeom prst="trapezoid">
              <a:avLst>
                <a:gd name="adj" fmla="val 74601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100000">
                  <a:srgbClr val="30322F">
                    <a:alpha val="14000"/>
                  </a:srgbClr>
                </a:gs>
                <a:gs pos="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5399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99C04FC-3C49-EF27-56D1-33DF6CB9EB24}"/>
                </a:ext>
              </a:extLst>
            </p:cNvPr>
            <p:cNvGrpSpPr/>
            <p:nvPr/>
          </p:nvGrpSpPr>
          <p:grpSpPr>
            <a:xfrm>
              <a:off x="500122" y="4412013"/>
              <a:ext cx="4245498" cy="1203010"/>
              <a:chOff x="3704381" y="3010249"/>
              <a:chExt cx="4783238" cy="1203010"/>
            </a:xfrm>
            <a:solidFill>
              <a:schemeClr val="tx1"/>
            </a:solidFill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D89AFAEC-A822-42A7-6693-C24EECC0EBA2}"/>
                  </a:ext>
                </a:extLst>
              </p:cNvPr>
              <p:cNvSpPr/>
              <p:nvPr/>
            </p:nvSpPr>
            <p:spPr>
              <a:xfrm>
                <a:off x="3704381" y="3010249"/>
                <a:ext cx="4783238" cy="1203010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399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DE26AB25-6645-0D9F-03DE-A8147DB48769}"/>
                  </a:ext>
                </a:extLst>
              </p:cNvPr>
              <p:cNvSpPr txBox="1"/>
              <p:nvPr/>
            </p:nvSpPr>
            <p:spPr>
              <a:xfrm>
                <a:off x="3849063" y="3099775"/>
                <a:ext cx="4424423" cy="95410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EFCE63"/>
                    </a:solidFill>
                    <a:effectLst/>
                    <a:uLnTx/>
                    <a:uFillTx/>
                    <a:latin typeface="Montserrat"/>
                  </a:rPr>
                  <a:t>PROZESSOPTIMIERUNG</a:t>
                </a:r>
                <a:br>
                  <a:rPr lang="en-US" sz="1400" b="1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Montserrat" panose="00000500000000000000" pitchFamily="2" charset="0"/>
                  </a:rPr>
                </a:br>
                <a:r>
                  <a:rPr kumimoji="0" lang="de-DE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5F5F5"/>
                    </a:solidFill>
                    <a:effectLst/>
                    <a:uLnTx/>
                    <a:uFillTx/>
                    <a:latin typeface="Montserrat"/>
                  </a:rPr>
                  <a:t>Vermeidung manueller Zahlungen durch automatisierte Schnittstellen zum ERP-System (Straight Through Processing</a:t>
                </a:r>
                <a:r>
                  <a:rPr lang="de-DE" sz="1400">
                    <a:solidFill>
                      <a:srgbClr val="F5F5F5"/>
                    </a:solidFill>
                    <a:latin typeface="Montserrat"/>
                  </a:rPr>
                  <a:t>)</a:t>
                </a:r>
                <a:endParaRPr kumimoji="0" lang="en-AT" sz="1400" b="0" i="0" u="none" strike="noStrike" kern="1200" cap="none" spc="0" normalizeH="0" baseline="0" noProof="0">
                  <a:ln>
                    <a:noFill/>
                  </a:ln>
                  <a:solidFill>
                    <a:srgbClr val="EFCE63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42BBFD1-BBC0-A865-7359-895FFDB29636}"/>
              </a:ext>
            </a:extLst>
          </p:cNvPr>
          <p:cNvGrpSpPr/>
          <p:nvPr/>
        </p:nvGrpSpPr>
        <p:grpSpPr>
          <a:xfrm>
            <a:off x="6787485" y="3671292"/>
            <a:ext cx="4391284" cy="1934602"/>
            <a:chOff x="6787485" y="3671292"/>
            <a:chExt cx="4391284" cy="1934602"/>
          </a:xfrm>
        </p:grpSpPr>
        <p:sp>
          <p:nvSpPr>
            <p:cNvPr id="34" name="Trapezoid 33">
              <a:extLst>
                <a:ext uri="{FF2B5EF4-FFF2-40B4-BE49-F238E27FC236}">
                  <a16:creationId xmlns:a16="http://schemas.microsoft.com/office/drawing/2014/main" id="{EB512BCB-83AF-9E36-E927-4210C721B8F9}"/>
                </a:ext>
              </a:extLst>
            </p:cNvPr>
            <p:cNvSpPr/>
            <p:nvPr/>
          </p:nvSpPr>
          <p:spPr>
            <a:xfrm rot="18936918">
              <a:off x="6787485" y="3671292"/>
              <a:ext cx="1485103" cy="1741357"/>
            </a:xfrm>
            <a:prstGeom prst="trapezoid">
              <a:avLst>
                <a:gd name="adj" fmla="val 74601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100000">
                  <a:srgbClr val="30322F">
                    <a:alpha val="14000"/>
                  </a:srgbClr>
                </a:gs>
                <a:gs pos="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5399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EDBE5FD-FDCD-45A8-124B-0964775F325E}"/>
                </a:ext>
              </a:extLst>
            </p:cNvPr>
            <p:cNvGrpSpPr/>
            <p:nvPr/>
          </p:nvGrpSpPr>
          <p:grpSpPr>
            <a:xfrm>
              <a:off x="7268937" y="4416857"/>
              <a:ext cx="3909832" cy="1189037"/>
              <a:chOff x="3704381" y="3010249"/>
              <a:chExt cx="4783238" cy="1189037"/>
            </a:xfrm>
            <a:solidFill>
              <a:schemeClr val="tx1"/>
            </a:solidFill>
          </p:grpSpPr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4B657884-6D7B-EC9E-B1AE-845647E44D74}"/>
                  </a:ext>
                </a:extLst>
              </p:cNvPr>
              <p:cNvSpPr/>
              <p:nvPr/>
            </p:nvSpPr>
            <p:spPr>
              <a:xfrm>
                <a:off x="3704381" y="3010249"/>
                <a:ext cx="4783238" cy="1189037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399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BDE4CBF-665A-1F54-743F-68D1D23209DB}"/>
                  </a:ext>
                </a:extLst>
              </p:cNvPr>
              <p:cNvSpPr txBox="1"/>
              <p:nvPr/>
            </p:nvSpPr>
            <p:spPr>
              <a:xfrm>
                <a:off x="3849064" y="3099775"/>
                <a:ext cx="4424423" cy="95410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EFCE63"/>
                    </a:solidFill>
                    <a:effectLst/>
                    <a:uLnTx/>
                    <a:uFillTx/>
                    <a:latin typeface="Montserrat"/>
                  </a:rPr>
                  <a:t>VEREINHEITLICHUNG DES</a:t>
                </a:r>
                <a:br>
                  <a:rPr lang="en-US" sz="1400" b="1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Montserrat" panose="00000500000000000000" pitchFamily="2" charset="0"/>
                  </a:rPr>
                </a:b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EFCE63"/>
                    </a:solidFill>
                    <a:effectLst/>
                    <a:uLnTx/>
                    <a:uFillTx/>
                    <a:latin typeface="Montserrat"/>
                  </a:rPr>
                  <a:t>CASH MANAGEMENTS</a:t>
                </a:r>
                <a:br>
                  <a:rPr lang="en-US" sz="1400" b="1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Montserrat" panose="00000500000000000000" pitchFamily="2" charset="0"/>
                  </a:rPr>
                </a:br>
                <a:r>
                  <a:rPr kumimoji="0" lang="de-DE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5F5F5"/>
                    </a:solidFill>
                    <a:effectLst/>
                    <a:uLnTx/>
                    <a:uFillTx/>
                    <a:latin typeface="Montserrat"/>
                  </a:rPr>
                  <a:t>Zentrale 90-Tage-Vorschau und Ablösung einzelner Excel-Dateien</a:t>
                </a:r>
                <a:endParaRPr kumimoji="0" lang="en-AT" sz="1400" b="0" i="0" u="none" strike="noStrike" kern="1200" cap="none" spc="0" normalizeH="0" baseline="0" noProof="0">
                  <a:ln>
                    <a:noFill/>
                  </a:ln>
                  <a:solidFill>
                    <a:srgbClr val="EFCE63"/>
                  </a:solidFill>
                  <a:effectLst/>
                  <a:uLnTx/>
                  <a:uFillTx/>
                  <a:latin typeface="Montserrat"/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24A199B-BCC0-1E54-307F-7B8A44B8B832}"/>
              </a:ext>
            </a:extLst>
          </p:cNvPr>
          <p:cNvGrpSpPr/>
          <p:nvPr/>
        </p:nvGrpSpPr>
        <p:grpSpPr>
          <a:xfrm>
            <a:off x="6635058" y="1554007"/>
            <a:ext cx="4543710" cy="2070575"/>
            <a:chOff x="6635058" y="1554007"/>
            <a:chExt cx="4543710" cy="2070575"/>
          </a:xfrm>
        </p:grpSpPr>
        <p:sp>
          <p:nvSpPr>
            <p:cNvPr id="32" name="Trapezoid 31">
              <a:extLst>
                <a:ext uri="{FF2B5EF4-FFF2-40B4-BE49-F238E27FC236}">
                  <a16:creationId xmlns:a16="http://schemas.microsoft.com/office/drawing/2014/main" id="{3245C81C-1359-A462-60B6-DC16E27218C2}"/>
                </a:ext>
              </a:extLst>
            </p:cNvPr>
            <p:cNvSpPr/>
            <p:nvPr/>
          </p:nvSpPr>
          <p:spPr>
            <a:xfrm rot="12963509">
              <a:off x="6635058" y="1883225"/>
              <a:ext cx="1586646" cy="1741357"/>
            </a:xfrm>
            <a:prstGeom prst="trapezoid">
              <a:avLst>
                <a:gd name="adj" fmla="val 74601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100000">
                  <a:srgbClr val="30322F">
                    <a:alpha val="14000"/>
                  </a:srgbClr>
                </a:gs>
                <a:gs pos="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5399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BCD8EF6-212E-1DDC-2473-2C0B8138F7EC}"/>
                </a:ext>
              </a:extLst>
            </p:cNvPr>
            <p:cNvGrpSpPr/>
            <p:nvPr/>
          </p:nvGrpSpPr>
          <p:grpSpPr>
            <a:xfrm>
              <a:off x="7268937" y="1554007"/>
              <a:ext cx="3909831" cy="1189036"/>
              <a:chOff x="3704381" y="3010250"/>
              <a:chExt cx="4783238" cy="1189036"/>
            </a:xfrm>
            <a:solidFill>
              <a:schemeClr val="tx1"/>
            </a:solidFill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6528282C-7498-D56A-3E92-9837AAF5C7E0}"/>
                  </a:ext>
                </a:extLst>
              </p:cNvPr>
              <p:cNvSpPr/>
              <p:nvPr/>
            </p:nvSpPr>
            <p:spPr>
              <a:xfrm>
                <a:off x="3704381" y="3010250"/>
                <a:ext cx="4783238" cy="1189036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399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2FD58F5F-C708-4803-36A3-BCF2D0FA8C84}"/>
                  </a:ext>
                </a:extLst>
              </p:cNvPr>
              <p:cNvSpPr txBox="1"/>
              <p:nvPr/>
            </p:nvSpPr>
            <p:spPr>
              <a:xfrm>
                <a:off x="3849064" y="3099775"/>
                <a:ext cx="4424423" cy="95410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EFCE63"/>
                    </a:solidFill>
                    <a:effectLst/>
                    <a:uLnTx/>
                    <a:uFillTx/>
                    <a:latin typeface="Montserrat"/>
                  </a:rPr>
                  <a:t>ZENTRALE ZAHLUNGSPLATTFORM</a:t>
                </a:r>
                <a:br>
                  <a:rPr lang="en-US" sz="1400" b="1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Montserrat" panose="00000500000000000000" pitchFamily="2" charset="0"/>
                  </a:rPr>
                </a:br>
                <a:r>
                  <a:rPr kumimoji="0" lang="de-DE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5F5F5"/>
                    </a:solidFill>
                    <a:effectLst/>
                    <a:uLnTx/>
                    <a:uFillTx/>
                    <a:latin typeface="Montserrat"/>
                  </a:rPr>
                  <a:t>Ablösung bestehender Online-Banking-Apps für Zahlungs-abwicklung und Kontoauszüge</a:t>
                </a:r>
                <a:endParaRPr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Montserrat"/>
                </a:endParaRPr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208F43A-FEA0-76E4-95DF-21160AEA45E1}"/>
              </a:ext>
            </a:extLst>
          </p:cNvPr>
          <p:cNvGrpSpPr/>
          <p:nvPr/>
        </p:nvGrpSpPr>
        <p:grpSpPr>
          <a:xfrm>
            <a:off x="4491383" y="3494356"/>
            <a:ext cx="2895818" cy="3310588"/>
            <a:chOff x="4491383" y="3494356"/>
            <a:chExt cx="2895818" cy="3310588"/>
          </a:xfrm>
        </p:grpSpPr>
        <p:sp>
          <p:nvSpPr>
            <p:cNvPr id="35" name="Trapezoid 34">
              <a:extLst>
                <a:ext uri="{FF2B5EF4-FFF2-40B4-BE49-F238E27FC236}">
                  <a16:creationId xmlns:a16="http://schemas.microsoft.com/office/drawing/2014/main" id="{AA279BFD-8403-C267-180E-AC1502A4B70A}"/>
                </a:ext>
              </a:extLst>
            </p:cNvPr>
            <p:cNvSpPr/>
            <p:nvPr/>
          </p:nvSpPr>
          <p:spPr>
            <a:xfrm>
              <a:off x="4710457" y="3494356"/>
              <a:ext cx="2543637" cy="3010027"/>
            </a:xfrm>
            <a:prstGeom prst="trapezoid">
              <a:avLst>
                <a:gd name="adj" fmla="val 74601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100000">
                  <a:srgbClr val="30322F">
                    <a:alpha val="14000"/>
                  </a:srgbClr>
                </a:gs>
                <a:gs pos="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5399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3D7896E-CF0D-5148-C8BF-29FF780C4A07}"/>
                </a:ext>
              </a:extLst>
            </p:cNvPr>
            <p:cNvGrpSpPr/>
            <p:nvPr/>
          </p:nvGrpSpPr>
          <p:grpSpPr>
            <a:xfrm>
              <a:off x="4491383" y="5761312"/>
              <a:ext cx="2895818" cy="1043632"/>
              <a:chOff x="3849065" y="3010250"/>
              <a:chExt cx="3542707" cy="1043632"/>
            </a:xfrm>
            <a:solidFill>
              <a:schemeClr val="tx1"/>
            </a:solidFill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7D373C37-04DF-3A09-5F60-78FC7CB50B2B}"/>
                  </a:ext>
                </a:extLst>
              </p:cNvPr>
              <p:cNvSpPr/>
              <p:nvPr/>
            </p:nvSpPr>
            <p:spPr>
              <a:xfrm>
                <a:off x="3849065" y="3010250"/>
                <a:ext cx="3542707" cy="954108"/>
              </a:xfrm>
              <a:prstGeom prst="roundRect">
                <a:avLst/>
              </a:prstGeom>
              <a:grpFill/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399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CBA9C81-741E-396C-381B-A05AF294C441}"/>
                  </a:ext>
                </a:extLst>
              </p:cNvPr>
              <p:cNvSpPr txBox="1"/>
              <p:nvPr/>
            </p:nvSpPr>
            <p:spPr>
              <a:xfrm>
                <a:off x="3849065" y="3099775"/>
                <a:ext cx="3542707" cy="95410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EFCE63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+mn-ea"/>
                    <a:cs typeface="+mn-cs"/>
                  </a:rPr>
                  <a:t>NEUER CASH POOL</a:t>
                </a:r>
                <a:b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EFCE63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+mn-ea"/>
                    <a:cs typeface="+mn-cs"/>
                  </a:rPr>
                </a:br>
                <a:r>
                  <a:rPr kumimoji="0" lang="de-DE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5F5F5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+mn-ea"/>
                    <a:cs typeface="+mn-cs"/>
                  </a:rPr>
                  <a:t>Abbildung des neuen Cash Pools inkl. Reporting</a:t>
                </a:r>
                <a:endParaRPr kumimoji="0" lang="en-AT" sz="14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  <a:p>
                <a:pPr marL="0" marR="0" lvl="0" indent="0" algn="ctr" defTabSz="9143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T" sz="1400" b="0" i="0" u="none" strike="noStrike" kern="1200" cap="none" spc="0" normalizeH="0" baseline="0" noProof="0">
                  <a:ln>
                    <a:noFill/>
                  </a:ln>
                  <a:solidFill>
                    <a:srgbClr val="EFCE63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407A408-F008-A70D-EB7A-4CB2E86D064C}"/>
              </a:ext>
            </a:extLst>
          </p:cNvPr>
          <p:cNvGrpSpPr/>
          <p:nvPr/>
        </p:nvGrpSpPr>
        <p:grpSpPr>
          <a:xfrm>
            <a:off x="3704381" y="2987098"/>
            <a:ext cx="4783238" cy="1189037"/>
            <a:chOff x="3704381" y="3010248"/>
            <a:chExt cx="4783238" cy="1189037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761CCF00-1855-F506-6C8E-695741749DD1}"/>
                </a:ext>
              </a:extLst>
            </p:cNvPr>
            <p:cNvSpPr/>
            <p:nvPr/>
          </p:nvSpPr>
          <p:spPr>
            <a:xfrm>
              <a:off x="3704381" y="3010248"/>
              <a:ext cx="4783238" cy="1189037"/>
            </a:xfrm>
            <a:prstGeom prst="roundRect">
              <a:avLst/>
            </a:prstGeom>
            <a:solidFill>
              <a:srgbClr val="EFCE63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5399" b="0" i="0" u="none" strike="noStrike" kern="1200" cap="none" spc="0" normalizeH="0" baseline="0" noProof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CE75B46-4A35-A9EE-E4BE-E4B62A4C9E18}"/>
                </a:ext>
              </a:extLst>
            </p:cNvPr>
            <p:cNvSpPr txBox="1"/>
            <p:nvPr/>
          </p:nvSpPr>
          <p:spPr>
            <a:xfrm>
              <a:off x="3849064" y="3099775"/>
              <a:ext cx="4424423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2F322F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ZIEL</a:t>
              </a:r>
              <a:b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2F322F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</a:b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2F322F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Aufbau einer schlanken Treasury-Abteilung mit transparenter, zentraler Steuerung und effizienten Prozessen</a:t>
              </a:r>
              <a:endParaRPr kumimoji="0" lang="en-AT" sz="1400" b="0" i="0" u="none" strike="noStrike" kern="1200" cap="none" spc="0" normalizeH="0" baseline="0" noProof="0">
                <a:ln>
                  <a:noFill/>
                </a:ln>
                <a:solidFill>
                  <a:srgbClr val="2F322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9891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 shot of a diagram&#10;&#10;Description automatically generated">
            <a:extLst>
              <a:ext uri="{FF2B5EF4-FFF2-40B4-BE49-F238E27FC236}">
                <a16:creationId xmlns:a16="http://schemas.microsoft.com/office/drawing/2014/main" id="{AE0D482D-D3FA-E837-ED84-C2BAB11B61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503" y="358140"/>
            <a:ext cx="4974713" cy="6141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68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2881109-E0AB-8C0F-A578-B1260AA15F46}"/>
              </a:ext>
            </a:extLst>
          </p:cNvPr>
          <p:cNvSpPr txBox="1"/>
          <p:nvPr/>
        </p:nvSpPr>
        <p:spPr>
          <a:xfrm>
            <a:off x="1080656" y="2228671"/>
            <a:ext cx="5133136" cy="26314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entia 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0" b="1" i="0" u="none" strike="noStrike" kern="1200" cap="none" spc="0" normalizeH="0" baseline="0" noProof="0">
                <a:ln>
                  <a:noFill/>
                </a:ln>
                <a:solidFill>
                  <a:srgbClr val="EFCE63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sh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0" b="1" i="0" u="none" strike="noStrike" kern="1200" cap="none" spc="0" normalizeH="0" baseline="0" noProof="0">
                <a:ln>
                  <a:noFill/>
                </a:ln>
                <a:solidFill>
                  <a:srgbClr val="EFCE63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nagement</a:t>
            </a:r>
            <a:endParaRPr kumimoji="0" lang="en-AT" sz="5500" b="1" i="0" u="none" strike="noStrike" kern="1200" cap="none" spc="0" normalizeH="0" baseline="0" noProof="0">
              <a:ln>
                <a:noFill/>
              </a:ln>
              <a:solidFill>
                <a:srgbClr val="EFCE63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2823827-0D62-A287-7E22-55329AEC9C1D}"/>
              </a:ext>
            </a:extLst>
          </p:cNvPr>
          <p:cNvGrpSpPr/>
          <p:nvPr/>
        </p:nvGrpSpPr>
        <p:grpSpPr>
          <a:xfrm>
            <a:off x="5766101" y="647391"/>
            <a:ext cx="6425900" cy="5760470"/>
            <a:chOff x="1920756" y="1315747"/>
            <a:chExt cx="5233462" cy="469151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9A7AB6E-26E9-DFF1-96EC-331E3ABEF1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9561" t="27064" r="36668" b="24734"/>
            <a:stretch/>
          </p:blipFill>
          <p:spPr>
            <a:xfrm>
              <a:off x="1920756" y="1315747"/>
              <a:ext cx="5233462" cy="4691514"/>
            </a:xfrm>
            <a:prstGeom prst="rect">
              <a:avLst/>
            </a:prstGeom>
          </p:spPr>
        </p:pic>
        <p:pic>
          <p:nvPicPr>
            <p:cNvPr id="6" name="Picture 5" descr="A screenshot of a cash management system&#10;&#10;Description automatically generated">
              <a:extLst>
                <a:ext uri="{FF2B5EF4-FFF2-40B4-BE49-F238E27FC236}">
                  <a16:creationId xmlns:a16="http://schemas.microsoft.com/office/drawing/2014/main" id="{EED3EFDF-072C-AE97-665B-46FABAB5A3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4741"/>
            <a:stretch/>
          </p:blipFill>
          <p:spPr>
            <a:xfrm>
              <a:off x="3344380" y="1789548"/>
              <a:ext cx="3809837" cy="3094970"/>
            </a:xfrm>
            <a:prstGeom prst="rect">
              <a:avLst/>
            </a:prstGeom>
          </p:spPr>
        </p:pic>
        <p:pic>
          <p:nvPicPr>
            <p:cNvPr id="10" name="Picture 9" descr="A mouse cursor with a black background&#10;&#10;Description automatically generated">
              <a:extLst>
                <a:ext uri="{FF2B5EF4-FFF2-40B4-BE49-F238E27FC236}">
                  <a16:creationId xmlns:a16="http://schemas.microsoft.com/office/drawing/2014/main" id="{046643AC-3F3D-AB86-D73F-3BB3DC79B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35826" y="3749273"/>
              <a:ext cx="438270" cy="329087"/>
            </a:xfrm>
            <a:prstGeom prst="rect">
              <a:avLst/>
            </a:prstGeom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A5C1260-8AF0-E00B-50C0-68D43754F73D}"/>
              </a:ext>
            </a:extLst>
          </p:cNvPr>
          <p:cNvSpPr/>
          <p:nvPr/>
        </p:nvSpPr>
        <p:spPr>
          <a:xfrm>
            <a:off x="1080656" y="1430767"/>
            <a:ext cx="1538343" cy="408791"/>
          </a:xfrm>
          <a:prstGeom prst="roundRect">
            <a:avLst>
              <a:gd name="adj" fmla="val 48246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F322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creenshots</a:t>
            </a:r>
            <a:endParaRPr kumimoji="0" lang="en-AT" sz="1400" b="1" i="0" u="none" strike="noStrike" kern="1200" cap="none" spc="0" normalizeH="0" baseline="0" noProof="0">
              <a:ln>
                <a:noFill/>
              </a:ln>
              <a:solidFill>
                <a:srgbClr val="2F322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455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EF7BBB1-2720-C07C-88B2-E52D8771A158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0" y="0"/>
            <a:chExt cx="9902977" cy="5570424"/>
          </a:xfrm>
        </p:grpSpPr>
        <p:pic>
          <p:nvPicPr>
            <p:cNvPr id="3" name="Grafik 4">
              <a:extLst>
                <a:ext uri="{FF2B5EF4-FFF2-40B4-BE49-F238E27FC236}">
                  <a16:creationId xmlns:a16="http://schemas.microsoft.com/office/drawing/2014/main" id="{3D1EDC62-7D7E-8257-1C9A-BC13B7382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18774"/>
            <a:stretch/>
          </p:blipFill>
          <p:spPr>
            <a:xfrm>
              <a:off x="0" y="0"/>
              <a:ext cx="9902977" cy="5570424"/>
            </a:xfrm>
            <a:prstGeom prst="rect">
              <a:avLst/>
            </a:prstGeom>
          </p:spPr>
        </p:pic>
        <p:pic>
          <p:nvPicPr>
            <p:cNvPr id="4" name="Grafik 4">
              <a:extLst>
                <a:ext uri="{FF2B5EF4-FFF2-40B4-BE49-F238E27FC236}">
                  <a16:creationId xmlns:a16="http://schemas.microsoft.com/office/drawing/2014/main" id="{AC5DA510-D56B-7D6A-62A4-9AC058C6A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rcRect l="11471" t="34764" r="18277" b="-335"/>
            <a:stretch/>
          </p:blipFill>
          <p:spPr>
            <a:xfrm>
              <a:off x="1337842" y="1917860"/>
              <a:ext cx="8565134" cy="36525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62314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Nomentia colors">
      <a:dk1>
        <a:srgbClr val="2F322F"/>
      </a:dk1>
      <a:lt1>
        <a:srgbClr val="F5F5F5"/>
      </a:lt1>
      <a:dk2>
        <a:srgbClr val="4B6A65"/>
      </a:dk2>
      <a:lt2>
        <a:srgbClr val="F5F5F5"/>
      </a:lt2>
      <a:accent1>
        <a:srgbClr val="F0CF64"/>
      </a:accent1>
      <a:accent2>
        <a:srgbClr val="4B6A65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F0CF64"/>
      </a:hlink>
      <a:folHlink>
        <a:srgbClr val="F0CF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OWNLOAD_FIRST_Nomentia_Slides_Template19112020" id="{4D039B98-E1A4-464A-A145-D32971F086AC}" vid="{7BF6DD96-F59D-42FD-8D46-5AAB13AA7802}"/>
    </a:ext>
  </a:extLst>
</a:theme>
</file>

<file path=ppt/theme/theme2.xml><?xml version="1.0" encoding="utf-8"?>
<a:theme xmlns:a="http://schemas.openxmlformats.org/drawingml/2006/main" name="Engel Völkers">
  <a:themeElements>
    <a:clrScheme name="Engel und Völkers">
      <a:dk1>
        <a:srgbClr val="646464"/>
      </a:dk1>
      <a:lt1>
        <a:srgbClr val="FFFFFF"/>
      </a:lt1>
      <a:dk2>
        <a:srgbClr val="E60000"/>
      </a:dk2>
      <a:lt2>
        <a:srgbClr val="303030"/>
      </a:lt2>
      <a:accent1>
        <a:srgbClr val="4B4B4B"/>
      </a:accent1>
      <a:accent2>
        <a:srgbClr val="CECECE"/>
      </a:accent2>
      <a:accent3>
        <a:srgbClr val="CECECE"/>
      </a:accent3>
      <a:accent4>
        <a:srgbClr val="F2F2F2"/>
      </a:accent4>
      <a:accent5>
        <a:srgbClr val="F8F5F0"/>
      </a:accent5>
      <a:accent6>
        <a:srgbClr val="E5E5E5"/>
      </a:accent6>
      <a:hlink>
        <a:srgbClr val="E60000"/>
      </a:hlink>
      <a:folHlink>
        <a:srgbClr val="E6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Engel Völkers">
  <a:themeElements>
    <a:clrScheme name="Engel und Völkers">
      <a:dk1>
        <a:srgbClr val="646464"/>
      </a:dk1>
      <a:lt1>
        <a:srgbClr val="FFFFFF"/>
      </a:lt1>
      <a:dk2>
        <a:srgbClr val="E60000"/>
      </a:dk2>
      <a:lt2>
        <a:srgbClr val="303030"/>
      </a:lt2>
      <a:accent1>
        <a:srgbClr val="4B4B4B"/>
      </a:accent1>
      <a:accent2>
        <a:srgbClr val="CECECE"/>
      </a:accent2>
      <a:accent3>
        <a:srgbClr val="CECECE"/>
      </a:accent3>
      <a:accent4>
        <a:srgbClr val="F2F2F2"/>
      </a:accent4>
      <a:accent5>
        <a:srgbClr val="F8F5F0"/>
      </a:accent5>
      <a:accent6>
        <a:srgbClr val="E5E5E5"/>
      </a:accent6>
      <a:hlink>
        <a:srgbClr val="E60000"/>
      </a:hlink>
      <a:folHlink>
        <a:srgbClr val="E6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3_Office Theme">
  <a:themeElements>
    <a:clrScheme name="Nomentia colors">
      <a:dk1>
        <a:srgbClr val="2F322F"/>
      </a:dk1>
      <a:lt1>
        <a:srgbClr val="F5F5F5"/>
      </a:lt1>
      <a:dk2>
        <a:srgbClr val="4B6A65"/>
      </a:dk2>
      <a:lt2>
        <a:srgbClr val="F5F5F5"/>
      </a:lt2>
      <a:accent1>
        <a:srgbClr val="F0CF64"/>
      </a:accent1>
      <a:accent2>
        <a:srgbClr val="4B6A65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F0CF64"/>
      </a:hlink>
      <a:folHlink>
        <a:srgbClr val="F0CF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OWNLOAD_FIRST_Nomentia_Slides_Template19112020" id="{4D039B98-E1A4-464A-A145-D32971F086AC}" vid="{7BF6DD96-F59D-42FD-8D46-5AAB13AA7802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23D8B61D7649469095DA5CA31A3BDD" ma:contentTypeVersion="18" ma:contentTypeDescription="Create a new document." ma:contentTypeScope="" ma:versionID="77588c5ccd0c73186fcf4a291e66c2e2">
  <xsd:schema xmlns:xsd="http://www.w3.org/2001/XMLSchema" xmlns:xs="http://www.w3.org/2001/XMLSchema" xmlns:p="http://schemas.microsoft.com/office/2006/metadata/properties" xmlns:ns2="b30c0973-49c4-4c85-9910-07337dd5efdf" xmlns:ns3="2777e090-3219-46cd-aed2-cb57542069df" targetNamespace="http://schemas.microsoft.com/office/2006/metadata/properties" ma:root="true" ma:fieldsID="65a5b1eafcd2f3b6a49b68994cba1fce" ns2:_="" ns3:_="">
    <xsd:import namespace="b30c0973-49c4-4c85-9910-07337dd5efdf"/>
    <xsd:import namespace="2777e090-3219-46cd-aed2-cb57542069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0c0973-49c4-4c85-9910-07337dd5ef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7c6f497-ccf7-4bca-a156-23af5b8ec5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77e090-3219-46cd-aed2-cb57542069d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274d8d8-d88a-4aed-8d1d-59973754d9cd}" ma:internalName="TaxCatchAll" ma:showField="CatchAllData" ma:web="2777e090-3219-46cd-aed2-cb57542069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777e090-3219-46cd-aed2-cb57542069df" xsi:nil="true"/>
    <lcf76f155ced4ddcb4097134ff3c332f xmlns="b30c0973-49c4-4c85-9910-07337dd5efdf">
      <Terms xmlns="http://schemas.microsoft.com/office/infopath/2007/PartnerControls"/>
    </lcf76f155ced4ddcb4097134ff3c332f>
    <SharedWithUsers xmlns="2777e090-3219-46cd-aed2-cb57542069df">
      <UserInfo>
        <DisplayName>Burgess, Chris</DisplayName>
        <AccountId>364</AccountId>
        <AccountType/>
      </UserInfo>
      <UserInfo>
        <DisplayName>Kapfer, Stefan</DisplayName>
        <AccountId>131</AccountId>
        <AccountType/>
      </UserInfo>
      <UserInfo>
        <DisplayName>Venger, Olga</DisplayName>
        <AccountId>446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2E670E-97CB-4B86-B324-126C7C98CAB7}">
  <ds:schemaRefs>
    <ds:schemaRef ds:uri="2777e090-3219-46cd-aed2-cb57542069df"/>
    <ds:schemaRef ds:uri="b30c0973-49c4-4c85-9910-07337dd5efd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18B54CB-9491-4DA5-8542-F5B0F9BD87F8}">
  <ds:schemaRefs>
    <ds:schemaRef ds:uri="http://schemas.microsoft.com/office/2006/documentManagement/types"/>
    <ds:schemaRef ds:uri="http://purl.org/dc/terms/"/>
    <ds:schemaRef ds:uri="http://purl.org/dc/dcmitype/"/>
    <ds:schemaRef ds:uri="b30c0973-49c4-4c85-9910-07337dd5efdf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2777e090-3219-46cd-aed2-cb57542069df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505123D-CBCA-4800-975A-AABB06A61A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90</Words>
  <Application>Microsoft Office PowerPoint</Application>
  <PresentationFormat>Widescreen</PresentationFormat>
  <Paragraphs>111</Paragraphs>
  <Slides>3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9" baseType="lpstr">
      <vt:lpstr>Aptos</vt:lpstr>
      <vt:lpstr>Aptos Display</vt:lpstr>
      <vt:lpstr>Arial</vt:lpstr>
      <vt:lpstr>Arial Bold</vt:lpstr>
      <vt:lpstr>Calibri</vt:lpstr>
      <vt:lpstr>Caveat</vt:lpstr>
      <vt:lpstr>Courier New</vt:lpstr>
      <vt:lpstr>Georgia</vt:lpstr>
      <vt:lpstr>Montserrat</vt:lpstr>
      <vt:lpstr>Montserrat Bold</vt:lpstr>
      <vt:lpstr>Noto Sans Symbols</vt:lpstr>
      <vt:lpstr>Office Theme</vt:lpstr>
      <vt:lpstr>Engel Völkers</vt:lpstr>
      <vt:lpstr>1_Engel Völkers</vt:lpstr>
      <vt:lpstr>Office</vt:lpstr>
      <vt:lpstr>3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e Anforderungen von Engel &amp; Völk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onta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äkinen, Julia</dc:creator>
  <cp:lastModifiedBy>Son, Danielle</cp:lastModifiedBy>
  <cp:revision>3</cp:revision>
  <cp:lastPrinted>2024-11-19T14:58:14Z</cp:lastPrinted>
  <dcterms:created xsi:type="dcterms:W3CDTF">2020-12-14T07:50:13Z</dcterms:created>
  <dcterms:modified xsi:type="dcterms:W3CDTF">2024-12-12T17:4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23D8B61D7649469095DA5CA31A3BDD</vt:lpwstr>
  </property>
  <property fmtid="{D5CDD505-2E9C-101B-9397-08002B2CF9AE}" pid="3" name="Order">
    <vt:r8>76890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MSIP_Label_36f15322-a013-4660-bc92-3edc710e8784_Enabled">
    <vt:lpwstr>true</vt:lpwstr>
  </property>
  <property fmtid="{D5CDD505-2E9C-101B-9397-08002B2CF9AE}" pid="10" name="MSIP_Label_36f15322-a013-4660-bc92-3edc710e8784_SetDate">
    <vt:lpwstr>2022-03-09T16:25:23Z</vt:lpwstr>
  </property>
  <property fmtid="{D5CDD505-2E9C-101B-9397-08002B2CF9AE}" pid="11" name="MSIP_Label_36f15322-a013-4660-bc92-3edc710e8784_Method">
    <vt:lpwstr>Standard</vt:lpwstr>
  </property>
  <property fmtid="{D5CDD505-2E9C-101B-9397-08002B2CF9AE}" pid="12" name="MSIP_Label_36f15322-a013-4660-bc92-3edc710e8784_Name">
    <vt:lpwstr>Public</vt:lpwstr>
  </property>
  <property fmtid="{D5CDD505-2E9C-101B-9397-08002B2CF9AE}" pid="13" name="MSIP_Label_36f15322-a013-4660-bc92-3edc710e8784_SiteId">
    <vt:lpwstr>e48d4b1f-2fa3-4365-b225-a1a3cd747266</vt:lpwstr>
  </property>
  <property fmtid="{D5CDD505-2E9C-101B-9397-08002B2CF9AE}" pid="14" name="MSIP_Label_36f15322-a013-4660-bc92-3edc710e8784_ActionId">
    <vt:lpwstr>ad6d7127-0445-4886-b578-d5cd8852d2af</vt:lpwstr>
  </property>
  <property fmtid="{D5CDD505-2E9C-101B-9397-08002B2CF9AE}" pid="15" name="MSIP_Label_36f15322-a013-4660-bc92-3edc710e8784_ContentBits">
    <vt:lpwstr>0</vt:lpwstr>
  </property>
  <property fmtid="{D5CDD505-2E9C-101B-9397-08002B2CF9AE}" pid="16" name="MediaServiceImageTags">
    <vt:lpwstr/>
  </property>
</Properties>
</file>